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comments/comment2.xml" ContentType="application/vnd.openxmlformats-officedocument.presentationml.comments+xml"/>
  <Override PartName="/ppt/notesSlides/notesSlide5.xml" ContentType="application/vnd.openxmlformats-officedocument.presentationml.notesSlide+xml"/>
  <Override PartName="/ppt/comments/comment3.xml" ContentType="application/vnd.openxmlformats-officedocument.presentationml.comment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8.xml" ContentType="application/vnd.openxmlformats-officedocument.presentationml.tags+xml"/>
  <Override PartName="/ppt/notesSlides/notesSlide2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tags/tag4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1.xml" ContentType="application/vnd.openxmlformats-officedocument.presentationml.tags+xml"/>
  <Override PartName="/ppt/notesSlides/notesSlide31.xml" ContentType="application/vnd.openxmlformats-officedocument.presentationml.notesSlide+xml"/>
  <Override PartName="/ppt/tags/tag4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4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46.xml" ContentType="application/vnd.openxmlformats-officedocument.presentationml.tags+xml"/>
  <Override PartName="/ppt/notesSlides/notesSlide3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71" r:id="rId3"/>
  </p:sldMasterIdLst>
  <p:notesMasterIdLst>
    <p:notesMasterId r:id="rId45"/>
  </p:notesMasterIdLst>
  <p:handoutMasterIdLst>
    <p:handoutMasterId r:id="rId46"/>
  </p:handoutMasterIdLst>
  <p:sldIdLst>
    <p:sldId id="424" r:id="rId4"/>
    <p:sldId id="350" r:id="rId5"/>
    <p:sldId id="257" r:id="rId6"/>
    <p:sldId id="389" r:id="rId7"/>
    <p:sldId id="418" r:id="rId8"/>
    <p:sldId id="355" r:id="rId9"/>
    <p:sldId id="372" r:id="rId10"/>
    <p:sldId id="392" r:id="rId11"/>
    <p:sldId id="390" r:id="rId12"/>
    <p:sldId id="425" r:id="rId13"/>
    <p:sldId id="426" r:id="rId14"/>
    <p:sldId id="417" r:id="rId15"/>
    <p:sldId id="394" r:id="rId16"/>
    <p:sldId id="395" r:id="rId17"/>
    <p:sldId id="396" r:id="rId18"/>
    <p:sldId id="397" r:id="rId19"/>
    <p:sldId id="398" r:id="rId20"/>
    <p:sldId id="419" r:id="rId21"/>
    <p:sldId id="399" r:id="rId22"/>
    <p:sldId id="391" r:id="rId23"/>
    <p:sldId id="401" r:id="rId24"/>
    <p:sldId id="400" r:id="rId25"/>
    <p:sldId id="402" r:id="rId26"/>
    <p:sldId id="403" r:id="rId27"/>
    <p:sldId id="423" r:id="rId28"/>
    <p:sldId id="405" r:id="rId29"/>
    <p:sldId id="404" r:id="rId30"/>
    <p:sldId id="406" r:id="rId31"/>
    <p:sldId id="407" r:id="rId32"/>
    <p:sldId id="409" r:id="rId33"/>
    <p:sldId id="408" r:id="rId34"/>
    <p:sldId id="410" r:id="rId35"/>
    <p:sldId id="412" r:id="rId36"/>
    <p:sldId id="411" r:id="rId37"/>
    <p:sldId id="414" r:id="rId38"/>
    <p:sldId id="465" r:id="rId39"/>
    <p:sldId id="466" r:id="rId40"/>
    <p:sldId id="416" r:id="rId41"/>
    <p:sldId id="415" r:id="rId42"/>
    <p:sldId id="354" r:id="rId43"/>
    <p:sldId id="421" r:id="rId44"/>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اسراء سيد أحمد عبد المحسن عبد العواض" initials="CA" lastIdx="11" clrIdx="0">
    <p:extLst>
      <p:ext uri="{19B8F6BF-5375-455C-9EA6-DF929625EA0E}">
        <p15:presenceInfo xmlns:p15="http://schemas.microsoft.com/office/powerpoint/2012/main" userId="S::cds.EsraaSayed46413@alexu.edu.eg::1cf25613-052c-438f-96b2-4f2cfe0cd4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DFF0"/>
    <a:srgbClr val="168DA5"/>
    <a:srgbClr val="06262C"/>
    <a:srgbClr val="D8D9D8"/>
    <a:srgbClr val="06182C"/>
    <a:srgbClr val="A38A60"/>
    <a:srgbClr val="F4F6DE"/>
    <a:srgbClr val="E6DAC7"/>
    <a:srgbClr val="F0E8C4"/>
    <a:srgbClr val="FAF9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32" autoAdjust="0"/>
    <p:restoredTop sz="94291" autoAdjust="0"/>
  </p:normalViewPr>
  <p:slideViewPr>
    <p:cSldViewPr snapToGrid="0" showGuides="1">
      <p:cViewPr varScale="1">
        <p:scale>
          <a:sx n="68" d="100"/>
          <a:sy n="68" d="100"/>
        </p:scale>
        <p:origin x="834" y="72"/>
      </p:cViewPr>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4-01-14T22:28:42.657" idx="1">
    <p:pos x="10" y="10"/>
    <p:text>01. Toaa</p:text>
    <p:extLst>
      <p:ext uri="{C676402C-5697-4E1C-873F-D02D1690AC5C}">
        <p15:threadingInfo xmlns:p15="http://schemas.microsoft.com/office/powerpoint/2012/main" timeZoneBias="-120"/>
      </p:ext>
    </p:extLst>
  </p:cm>
  <p:cm authorId="1" dt="2024-01-14T22:29:10.647" idx="2">
    <p:pos x="10" y="106"/>
    <p:text>02. Dina</p:text>
    <p:extLst>
      <p:ext uri="{C676402C-5697-4E1C-873F-D02D1690AC5C}">
        <p15:threadingInfo xmlns:p15="http://schemas.microsoft.com/office/powerpoint/2012/main" timeZoneBias="-120">
          <p15:parentCm authorId="1" idx="1"/>
        </p15:threadingInfo>
      </p:ext>
    </p:extLst>
  </p:cm>
  <p:cm authorId="1" dt="2024-01-14T22:29:18.663" idx="3">
    <p:pos x="10" y="202"/>
    <p:text>03. Nada</p:text>
    <p:extLst>
      <p:ext uri="{C676402C-5697-4E1C-873F-D02D1690AC5C}">
        <p15:threadingInfo xmlns:p15="http://schemas.microsoft.com/office/powerpoint/2012/main" timeZoneBias="-120">
          <p15:parentCm authorId="1" idx="1"/>
        </p15:threadingInfo>
      </p:ext>
    </p:extLst>
  </p:cm>
  <p:cm authorId="1" dt="2024-01-14T22:29:34.256" idx="4">
    <p:pos x="10" y="298"/>
    <p:text>04. Heba</p:text>
    <p:extLst>
      <p:ext uri="{C676402C-5697-4E1C-873F-D02D1690AC5C}">
        <p15:threadingInfo xmlns:p15="http://schemas.microsoft.com/office/powerpoint/2012/main" timeZoneBias="-120">
          <p15:parentCm authorId="1"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4-01-14T22:29:53.846" idx="5">
    <p:pos x="10" y="10"/>
    <p:text>05. Heba</p:text>
    <p:extLst>
      <p:ext uri="{C676402C-5697-4E1C-873F-D02D1690AC5C}">
        <p15:threadingInfo xmlns:p15="http://schemas.microsoft.com/office/powerpoint/2012/main" timeZoneBias="-120"/>
      </p:ext>
    </p:extLst>
  </p:cm>
  <p:cm authorId="1" dt="2024-01-14T22:30:36.746" idx="6">
    <p:pos x="10" y="106"/>
    <p:text>06. Esraa</p:text>
    <p:extLst>
      <p:ext uri="{C676402C-5697-4E1C-873F-D02D1690AC5C}">
        <p15:threadingInfo xmlns:p15="http://schemas.microsoft.com/office/powerpoint/2012/main" timeZoneBias="-120">
          <p15:parentCm authorId="1" idx="5"/>
        </p15:threadingInfo>
      </p:ext>
    </p:extLst>
  </p:cm>
  <p:cm authorId="1" dt="2024-01-14T22:32:24.229" idx="8">
    <p:pos x="10" y="202"/>
    <p:text>07. Toaa</p:text>
    <p:extLst>
      <p:ext uri="{C676402C-5697-4E1C-873F-D02D1690AC5C}">
        <p15:threadingInfo xmlns:p15="http://schemas.microsoft.com/office/powerpoint/2012/main" timeZoneBias="-120">
          <p15:parentCm authorId="1" idx="5"/>
        </p15:threadingInfo>
      </p:ext>
    </p:extLst>
  </p:cm>
  <p:cm authorId="1" dt="2024-01-14T22:41:32.062" idx="10">
    <p:pos x="10" y="298"/>
    <p:text>08.Toaa</p:text>
    <p:extLst>
      <p:ext uri="{C676402C-5697-4E1C-873F-D02D1690AC5C}">
        <p15:threadingInfo xmlns:p15="http://schemas.microsoft.com/office/powerpoint/2012/main" timeZoneBias="-120">
          <p15:parentCm authorId="1" idx="5"/>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4-01-14T22:33:05.546" idx="9">
    <p:pos x="10" y="10"/>
    <p:text>09.Nada</p:text>
    <p:extLst>
      <p:ext uri="{C676402C-5697-4E1C-873F-D02D1690AC5C}">
        <p15:threadingInfo xmlns:p15="http://schemas.microsoft.com/office/powerpoint/2012/main" timeZoneBias="-120"/>
      </p:ext>
    </p:extLst>
  </p:cm>
  <p:cm authorId="1" dt="2024-01-14T22:44:01.526" idx="11">
    <p:pos x="10" y="106"/>
    <p:text>10/11: Dina</p:text>
    <p:extLst>
      <p:ext uri="{C676402C-5697-4E1C-873F-D02D1690AC5C}">
        <p15:threadingInfo xmlns:p15="http://schemas.microsoft.com/office/powerpoint/2012/main" timeZoneBias="-120">
          <p15:parentCm authorId="1" idx="9"/>
        </p15:threadingInfo>
      </p:ext>
    </p:extLst>
  </p:cm>
</p:cmLst>
</file>

<file path=ppt/diagrams/_rels/data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image" Target="../media/image23.jpg"/><Relationship Id="rId6" Type="http://schemas.openxmlformats.org/officeDocument/2006/relationships/image" Target="../media/image27.jpg"/><Relationship Id="rId5" Type="http://schemas.openxmlformats.org/officeDocument/2006/relationships/image" Target="../media/image26.png"/><Relationship Id="rId4" Type="http://schemas.microsoft.com/office/2007/relationships/hdphoto" Target="../media/hdphoto11.wdp"/></Relationships>
</file>

<file path=ppt/diagrams/_rels/drawing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image" Target="../media/image23.jpg"/><Relationship Id="rId6" Type="http://schemas.openxmlformats.org/officeDocument/2006/relationships/image" Target="../media/image27.jpg"/><Relationship Id="rId5" Type="http://schemas.openxmlformats.org/officeDocument/2006/relationships/image" Target="../media/image26.png"/><Relationship Id="rId4" Type="http://schemas.microsoft.com/office/2007/relationships/hdphoto" Target="../media/hdphoto11.wdp"/></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66FC82-8A8A-4798-9E38-C8F0ED3FA3FE}"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67559724-156A-4753-894E-9EF104045F3C}">
      <dgm:prSet phldrT="[Text]"/>
      <dgm:spPr/>
      <dgm:t>
        <a:bodyPr/>
        <a:lstStyle/>
        <a:p>
          <a:r>
            <a:rPr lang="en-US" dirty="0">
              <a:solidFill>
                <a:schemeClr val="bg1"/>
              </a:solidFill>
            </a:rPr>
            <a:t>Speech Processing</a:t>
          </a:r>
        </a:p>
      </dgm:t>
    </dgm:pt>
    <dgm:pt modelId="{0AAC2842-0B59-462A-A9D6-425CEAB4E220}" type="parTrans" cxnId="{437D9E29-0D33-4E07-ACBA-778FF3F0ADA6}">
      <dgm:prSet/>
      <dgm:spPr/>
      <dgm:t>
        <a:bodyPr/>
        <a:lstStyle/>
        <a:p>
          <a:endParaRPr lang="en-US"/>
        </a:p>
      </dgm:t>
    </dgm:pt>
    <dgm:pt modelId="{64285ACE-8DD5-4066-8B86-1943487C0F24}" type="sibTrans" cxnId="{437D9E29-0D33-4E07-ACBA-778FF3F0ADA6}">
      <dgm:prSet/>
      <dgm:spPr/>
      <dgm:t>
        <a:bodyPr/>
        <a:lstStyle/>
        <a:p>
          <a:endParaRPr lang="en-US"/>
        </a:p>
      </dgm:t>
    </dgm:pt>
    <dgm:pt modelId="{F182FBDE-9CB2-487C-9838-1508E137BD81}">
      <dgm:prSet phldrT="[Text]"/>
      <dgm:spPr/>
      <dgm:t>
        <a:bodyPr/>
        <a:lstStyle/>
        <a:p>
          <a:r>
            <a:rPr lang="en-US" dirty="0">
              <a:solidFill>
                <a:schemeClr val="bg1"/>
              </a:solidFill>
            </a:rPr>
            <a:t>Bioinformatics</a:t>
          </a:r>
        </a:p>
      </dgm:t>
    </dgm:pt>
    <dgm:pt modelId="{8974A8C1-B5D7-4B27-9F43-8DDDC4CD42A3}" type="parTrans" cxnId="{ACC89547-7368-468D-BDA3-B93AD92BD60E}">
      <dgm:prSet/>
      <dgm:spPr/>
      <dgm:t>
        <a:bodyPr/>
        <a:lstStyle/>
        <a:p>
          <a:endParaRPr lang="en-US"/>
        </a:p>
      </dgm:t>
    </dgm:pt>
    <dgm:pt modelId="{E6BFB6D0-2B9C-4C56-B3E4-F9DD162A5402}" type="sibTrans" cxnId="{ACC89547-7368-468D-BDA3-B93AD92BD60E}">
      <dgm:prSet/>
      <dgm:spPr/>
      <dgm:t>
        <a:bodyPr/>
        <a:lstStyle/>
        <a:p>
          <a:endParaRPr lang="en-US"/>
        </a:p>
      </dgm:t>
    </dgm:pt>
    <dgm:pt modelId="{18DE4259-B2AB-44EE-8B74-251F1EEC37C0}">
      <dgm:prSet phldrT="[Text]"/>
      <dgm:spPr/>
      <dgm:t>
        <a:bodyPr/>
        <a:lstStyle/>
        <a:p>
          <a:r>
            <a:rPr lang="en-US" dirty="0">
              <a:solidFill>
                <a:schemeClr val="bg1"/>
              </a:solidFill>
            </a:rPr>
            <a:t>NLP</a:t>
          </a:r>
        </a:p>
      </dgm:t>
    </dgm:pt>
    <dgm:pt modelId="{AD343DD8-B945-477E-B241-1BFD32458B2F}" type="parTrans" cxnId="{59A336B9-82ED-43FA-9B8F-4C4863B0C7AD}">
      <dgm:prSet/>
      <dgm:spPr/>
      <dgm:t>
        <a:bodyPr/>
        <a:lstStyle/>
        <a:p>
          <a:endParaRPr lang="en-US"/>
        </a:p>
      </dgm:t>
    </dgm:pt>
    <dgm:pt modelId="{A2D91B90-F30D-4593-8C85-87857213CFBD}" type="sibTrans" cxnId="{59A336B9-82ED-43FA-9B8F-4C4863B0C7AD}">
      <dgm:prSet/>
      <dgm:spPr/>
      <dgm:t>
        <a:bodyPr/>
        <a:lstStyle/>
        <a:p>
          <a:endParaRPr lang="en-US"/>
        </a:p>
      </dgm:t>
    </dgm:pt>
    <dgm:pt modelId="{7A437576-560B-44F9-8C39-83A612371E26}">
      <dgm:prSet phldrT="[Text]"/>
      <dgm:spPr/>
      <dgm:t>
        <a:bodyPr/>
        <a:lstStyle/>
        <a:p>
          <a:r>
            <a:rPr lang="en-US" dirty="0">
              <a:solidFill>
                <a:schemeClr val="bg1"/>
              </a:solidFill>
            </a:rPr>
            <a:t>Finance</a:t>
          </a:r>
        </a:p>
      </dgm:t>
    </dgm:pt>
    <dgm:pt modelId="{79BCCE52-38F8-4707-B02B-69A6505D887C}" type="parTrans" cxnId="{6A715624-EF31-4EF8-B8BB-DDA627241A64}">
      <dgm:prSet/>
      <dgm:spPr/>
      <dgm:t>
        <a:bodyPr/>
        <a:lstStyle/>
        <a:p>
          <a:endParaRPr lang="en-US"/>
        </a:p>
      </dgm:t>
    </dgm:pt>
    <dgm:pt modelId="{3A25E26F-B8A3-49A0-80C7-92D315F9E33F}" type="sibTrans" cxnId="{6A715624-EF31-4EF8-B8BB-DDA627241A64}">
      <dgm:prSet/>
      <dgm:spPr/>
      <dgm:t>
        <a:bodyPr/>
        <a:lstStyle/>
        <a:p>
          <a:endParaRPr lang="en-US"/>
        </a:p>
      </dgm:t>
    </dgm:pt>
    <dgm:pt modelId="{CA1E91D5-1CA3-4FB4-86DE-98C89FA76F07}">
      <dgm:prSet/>
      <dgm:spPr/>
      <dgm:t>
        <a:bodyPr/>
        <a:lstStyle/>
        <a:p>
          <a:endParaRPr lang="en-US"/>
        </a:p>
      </dgm:t>
    </dgm:pt>
    <dgm:pt modelId="{948370D3-4565-476D-8EE1-D1128D236C20}" type="parTrans" cxnId="{EFEB43EB-F0E4-4F97-A9D7-5E5292A84F0C}">
      <dgm:prSet/>
      <dgm:spPr/>
      <dgm:t>
        <a:bodyPr/>
        <a:lstStyle/>
        <a:p>
          <a:endParaRPr lang="en-US"/>
        </a:p>
      </dgm:t>
    </dgm:pt>
    <dgm:pt modelId="{45BC7160-65C2-42A2-95C8-C0BB353B71FF}" type="sibTrans" cxnId="{EFEB43EB-F0E4-4F97-A9D7-5E5292A84F0C}">
      <dgm:prSet/>
      <dgm:spPr/>
      <dgm:t>
        <a:bodyPr/>
        <a:lstStyle/>
        <a:p>
          <a:endParaRPr lang="en-US"/>
        </a:p>
      </dgm:t>
    </dgm:pt>
    <dgm:pt modelId="{2F7DF9C1-D0B8-4D9E-B1E7-E00038B7D607}" type="pres">
      <dgm:prSet presAssocID="{3266FC82-8A8A-4798-9E38-C8F0ED3FA3FE}" presName="Name0" presStyleCnt="0">
        <dgm:presLayoutVars>
          <dgm:dir/>
          <dgm:resizeHandles val="exact"/>
        </dgm:presLayoutVars>
      </dgm:prSet>
      <dgm:spPr/>
    </dgm:pt>
    <dgm:pt modelId="{BA22A942-0210-4C27-B1E0-65CF9B7D19D2}" type="pres">
      <dgm:prSet presAssocID="{67559724-156A-4753-894E-9EF104045F3C}" presName="compNode" presStyleCnt="0"/>
      <dgm:spPr/>
    </dgm:pt>
    <dgm:pt modelId="{CC2DB00F-C6D6-472D-B587-7FB35B4967C3}" type="pres">
      <dgm:prSet presAssocID="{67559724-156A-4753-894E-9EF104045F3C}" presName="pictRect" presStyleLbl="node1" presStyleIdx="0" presStyleCnt="5" custScaleX="121000" custScaleY="121000"/>
      <dgm:spPr>
        <a:blipFill>
          <a:blip xmlns:r="http://schemas.openxmlformats.org/officeDocument/2006/relationships" r:embed="rId1">
            <a:extLst>
              <a:ext uri="{28A0092B-C50C-407E-A947-70E740481C1C}">
                <a14:useLocalDpi xmlns:a14="http://schemas.microsoft.com/office/drawing/2010/main" val="0"/>
              </a:ext>
            </a:extLst>
          </a:blip>
          <a:srcRect/>
          <a:stretch>
            <a:fillRect l="-4000" r="-4000"/>
          </a:stretch>
        </a:blipFill>
        <a:ln w="38100">
          <a:solidFill>
            <a:schemeClr val="bg1"/>
          </a:solidFill>
        </a:ln>
      </dgm:spPr>
    </dgm:pt>
    <dgm:pt modelId="{90E50430-8C4F-461F-972C-F12F25DF9E44}" type="pres">
      <dgm:prSet presAssocID="{67559724-156A-4753-894E-9EF104045F3C}" presName="textRect" presStyleLbl="revTx" presStyleIdx="0" presStyleCnt="5">
        <dgm:presLayoutVars>
          <dgm:bulletEnabled val="1"/>
        </dgm:presLayoutVars>
      </dgm:prSet>
      <dgm:spPr/>
    </dgm:pt>
    <dgm:pt modelId="{9077706E-E338-449B-A613-049EB45E10BD}" type="pres">
      <dgm:prSet presAssocID="{64285ACE-8DD5-4066-8B86-1943487C0F24}" presName="sibTrans" presStyleLbl="sibTrans2D1" presStyleIdx="0" presStyleCnt="0"/>
      <dgm:spPr/>
    </dgm:pt>
    <dgm:pt modelId="{8998ABB9-11B6-4F62-A30D-BB56F43E693F}" type="pres">
      <dgm:prSet presAssocID="{F182FBDE-9CB2-487C-9838-1508E137BD81}" presName="compNode" presStyleCnt="0"/>
      <dgm:spPr/>
    </dgm:pt>
    <dgm:pt modelId="{E4A5238C-CAAE-4A17-951B-C54235E80CAF}" type="pres">
      <dgm:prSet presAssocID="{F182FBDE-9CB2-487C-9838-1508E137BD81}" presName="pictRect" presStyleLbl="node1" presStyleIdx="1" presStyleCnt="5" custScaleX="121000" custScaleY="121000"/>
      <dgm:spPr>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a:ln w="57150">
          <a:solidFill>
            <a:schemeClr val="bg1"/>
          </a:solidFill>
        </a:ln>
      </dgm:spPr>
    </dgm:pt>
    <dgm:pt modelId="{E9228C75-0D08-47A7-85A9-84CFB2650F23}" type="pres">
      <dgm:prSet presAssocID="{F182FBDE-9CB2-487C-9838-1508E137BD81}" presName="textRect" presStyleLbl="revTx" presStyleIdx="1" presStyleCnt="5" custLinFactNeighborX="-4" custLinFactNeighborY="7333">
        <dgm:presLayoutVars>
          <dgm:bulletEnabled val="1"/>
        </dgm:presLayoutVars>
      </dgm:prSet>
      <dgm:spPr/>
    </dgm:pt>
    <dgm:pt modelId="{623EB7C1-28E7-431D-8E75-F7C88F4E3375}" type="pres">
      <dgm:prSet presAssocID="{E6BFB6D0-2B9C-4C56-B3E4-F9DD162A5402}" presName="sibTrans" presStyleLbl="sibTrans2D1" presStyleIdx="0" presStyleCnt="0"/>
      <dgm:spPr/>
    </dgm:pt>
    <dgm:pt modelId="{4897A4B7-F7A8-4896-9F09-FDCB5F569F4E}" type="pres">
      <dgm:prSet presAssocID="{18DE4259-B2AB-44EE-8B74-251F1EEC37C0}" presName="compNode" presStyleCnt="0"/>
      <dgm:spPr/>
    </dgm:pt>
    <dgm:pt modelId="{5547CE53-8565-4505-ABAE-D18217E53DE6}" type="pres">
      <dgm:prSet presAssocID="{18DE4259-B2AB-44EE-8B74-251F1EEC37C0}" presName="pictRect" presStyleLbl="node1" presStyleIdx="2" presStyleCnt="5" custScaleX="121000" custScaleY="121000"/>
      <dgm:spPr>
        <a:blipFill>
          <a:blip xmlns:r="http://schemas.openxmlformats.org/officeDocument/2006/relationships" r:embed="rId3">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a:stretch>
            <a:fillRect t="-22000" b="-22000"/>
          </a:stretch>
        </a:blipFill>
        <a:ln w="57150">
          <a:solidFill>
            <a:schemeClr val="bg1"/>
          </a:solidFill>
        </a:ln>
      </dgm:spPr>
    </dgm:pt>
    <dgm:pt modelId="{7D51C66E-4AF5-4BF5-8760-A74E2A8104A3}" type="pres">
      <dgm:prSet presAssocID="{18DE4259-B2AB-44EE-8B74-251F1EEC37C0}" presName="textRect" presStyleLbl="revTx" presStyleIdx="2" presStyleCnt="5" custLinFactNeighborX="2155" custLinFactNeighborY="9246">
        <dgm:presLayoutVars>
          <dgm:bulletEnabled val="1"/>
        </dgm:presLayoutVars>
      </dgm:prSet>
      <dgm:spPr/>
    </dgm:pt>
    <dgm:pt modelId="{A159C513-56B2-4B59-8B44-D334CDB73FD2}" type="pres">
      <dgm:prSet presAssocID="{A2D91B90-F30D-4593-8C85-87857213CFBD}" presName="sibTrans" presStyleLbl="sibTrans2D1" presStyleIdx="0" presStyleCnt="0"/>
      <dgm:spPr/>
    </dgm:pt>
    <dgm:pt modelId="{B4E348F5-C2B0-4EBE-A18F-A15AD89CE49C}" type="pres">
      <dgm:prSet presAssocID="{7A437576-560B-44F9-8C39-83A612371E26}" presName="compNode" presStyleCnt="0"/>
      <dgm:spPr/>
    </dgm:pt>
    <dgm:pt modelId="{309C60D7-B742-4883-9048-6225BC27FA7A}" type="pres">
      <dgm:prSet presAssocID="{7A437576-560B-44F9-8C39-83A612371E26}" presName="pictRect" presStyleLbl="node1" presStyleIdx="3" presStyleCnt="5" custScaleX="121000" custScaleY="121000"/>
      <dgm:spPr>
        <a:blipFill>
          <a:blip xmlns:r="http://schemas.openxmlformats.org/officeDocument/2006/relationships" r:embed="rId5">
            <a:extLst>
              <a:ext uri="{28A0092B-C50C-407E-A947-70E740481C1C}">
                <a14:useLocalDpi xmlns:a14="http://schemas.microsoft.com/office/drawing/2010/main" val="0"/>
              </a:ext>
            </a:extLst>
          </a:blip>
          <a:srcRect/>
          <a:stretch>
            <a:fillRect l="-10000" r="-10000"/>
          </a:stretch>
        </a:blipFill>
        <a:ln w="57150">
          <a:solidFill>
            <a:schemeClr val="bg1"/>
          </a:solidFill>
        </a:ln>
      </dgm:spPr>
    </dgm:pt>
    <dgm:pt modelId="{9E0C2835-54DB-4E25-A100-FDE33EFFA940}" type="pres">
      <dgm:prSet presAssocID="{7A437576-560B-44F9-8C39-83A612371E26}" presName="textRect" presStyleLbl="revTx" presStyleIdx="3" presStyleCnt="5" custLinFactNeighborX="1802" custLinFactNeighborY="6605">
        <dgm:presLayoutVars>
          <dgm:bulletEnabled val="1"/>
        </dgm:presLayoutVars>
      </dgm:prSet>
      <dgm:spPr/>
    </dgm:pt>
    <dgm:pt modelId="{F421888D-C284-4638-B9B7-68F5D89EDF63}" type="pres">
      <dgm:prSet presAssocID="{3A25E26F-B8A3-49A0-80C7-92D315F9E33F}" presName="sibTrans" presStyleLbl="sibTrans2D1" presStyleIdx="0" presStyleCnt="0"/>
      <dgm:spPr/>
    </dgm:pt>
    <dgm:pt modelId="{F9D21C01-E9B2-4116-BAAF-A8751899A337}" type="pres">
      <dgm:prSet presAssocID="{CA1E91D5-1CA3-4FB4-86DE-98C89FA76F07}" presName="compNode" presStyleCnt="0"/>
      <dgm:spPr/>
    </dgm:pt>
    <dgm:pt modelId="{7F56166F-B35F-499D-9EAD-C3E28542FCBD}" type="pres">
      <dgm:prSet presAssocID="{CA1E91D5-1CA3-4FB4-86DE-98C89FA76F07}" presName="pictRect" presStyleLbl="node1" presStyleIdx="4" presStyleCnt="5" custScaleX="123830" custScaleY="121000"/>
      <dgm:spPr>
        <a:blipFill>
          <a:blip xmlns:r="http://schemas.openxmlformats.org/officeDocument/2006/relationships" r:embed="rId6">
            <a:extLst>
              <a:ext uri="{28A0092B-C50C-407E-A947-70E740481C1C}">
                <a14:useLocalDpi xmlns:a14="http://schemas.microsoft.com/office/drawing/2010/main" val="0"/>
              </a:ext>
            </a:extLst>
          </a:blip>
          <a:srcRect/>
          <a:stretch>
            <a:fillRect t="-23000" b="-23000"/>
          </a:stretch>
        </a:blipFill>
        <a:ln w="57150">
          <a:solidFill>
            <a:schemeClr val="bg1"/>
          </a:solidFill>
        </a:ln>
      </dgm:spPr>
    </dgm:pt>
    <dgm:pt modelId="{60C6334F-F70B-482F-A569-5377EECF968E}" type="pres">
      <dgm:prSet presAssocID="{CA1E91D5-1CA3-4FB4-86DE-98C89FA76F07}" presName="textRect" presStyleLbl="revTx" presStyleIdx="4" presStyleCnt="5">
        <dgm:presLayoutVars>
          <dgm:bulletEnabled val="1"/>
        </dgm:presLayoutVars>
      </dgm:prSet>
      <dgm:spPr/>
    </dgm:pt>
  </dgm:ptLst>
  <dgm:cxnLst>
    <dgm:cxn modelId="{CD396509-EDE2-470F-B3E5-8391D2E3E58C}" type="presOf" srcId="{CA1E91D5-1CA3-4FB4-86DE-98C89FA76F07}" destId="{60C6334F-F70B-482F-A569-5377EECF968E}" srcOrd="0" destOrd="0" presId="urn:microsoft.com/office/officeart/2005/8/layout/pList1"/>
    <dgm:cxn modelId="{F5B44714-367F-4A07-A477-0B7556BF4552}" type="presOf" srcId="{18DE4259-B2AB-44EE-8B74-251F1EEC37C0}" destId="{7D51C66E-4AF5-4BF5-8760-A74E2A8104A3}" srcOrd="0" destOrd="0" presId="urn:microsoft.com/office/officeart/2005/8/layout/pList1"/>
    <dgm:cxn modelId="{078A0F1F-727C-4D60-8309-171447D6ADF9}" type="presOf" srcId="{64285ACE-8DD5-4066-8B86-1943487C0F24}" destId="{9077706E-E338-449B-A613-049EB45E10BD}" srcOrd="0" destOrd="0" presId="urn:microsoft.com/office/officeart/2005/8/layout/pList1"/>
    <dgm:cxn modelId="{6A715624-EF31-4EF8-B8BB-DDA627241A64}" srcId="{3266FC82-8A8A-4798-9E38-C8F0ED3FA3FE}" destId="{7A437576-560B-44F9-8C39-83A612371E26}" srcOrd="3" destOrd="0" parTransId="{79BCCE52-38F8-4707-B02B-69A6505D887C}" sibTransId="{3A25E26F-B8A3-49A0-80C7-92D315F9E33F}"/>
    <dgm:cxn modelId="{437D9E29-0D33-4E07-ACBA-778FF3F0ADA6}" srcId="{3266FC82-8A8A-4798-9E38-C8F0ED3FA3FE}" destId="{67559724-156A-4753-894E-9EF104045F3C}" srcOrd="0" destOrd="0" parTransId="{0AAC2842-0B59-462A-A9D6-425CEAB4E220}" sibTransId="{64285ACE-8DD5-4066-8B86-1943487C0F24}"/>
    <dgm:cxn modelId="{46045931-235D-4BBF-8154-E4C6F10FAAB4}" type="presOf" srcId="{A2D91B90-F30D-4593-8C85-87857213CFBD}" destId="{A159C513-56B2-4B59-8B44-D334CDB73FD2}" srcOrd="0" destOrd="0" presId="urn:microsoft.com/office/officeart/2005/8/layout/pList1"/>
    <dgm:cxn modelId="{99672A40-DDEF-4219-9333-D4CC989D8EB4}" type="presOf" srcId="{E6BFB6D0-2B9C-4C56-B3E4-F9DD162A5402}" destId="{623EB7C1-28E7-431D-8E75-F7C88F4E3375}" srcOrd="0" destOrd="0" presId="urn:microsoft.com/office/officeart/2005/8/layout/pList1"/>
    <dgm:cxn modelId="{FA200F5E-3537-418B-AE8A-B14C246430F0}" type="presOf" srcId="{67559724-156A-4753-894E-9EF104045F3C}" destId="{90E50430-8C4F-461F-972C-F12F25DF9E44}" srcOrd="0" destOrd="0" presId="urn:microsoft.com/office/officeart/2005/8/layout/pList1"/>
    <dgm:cxn modelId="{ACC89547-7368-468D-BDA3-B93AD92BD60E}" srcId="{3266FC82-8A8A-4798-9E38-C8F0ED3FA3FE}" destId="{F182FBDE-9CB2-487C-9838-1508E137BD81}" srcOrd="1" destOrd="0" parTransId="{8974A8C1-B5D7-4B27-9F43-8DDDC4CD42A3}" sibTransId="{E6BFB6D0-2B9C-4C56-B3E4-F9DD162A5402}"/>
    <dgm:cxn modelId="{1825B376-0661-4C5C-BDB6-0C924EAB425E}" type="presOf" srcId="{7A437576-560B-44F9-8C39-83A612371E26}" destId="{9E0C2835-54DB-4E25-A100-FDE33EFFA940}" srcOrd="0" destOrd="0" presId="urn:microsoft.com/office/officeart/2005/8/layout/pList1"/>
    <dgm:cxn modelId="{9E90C8A5-0F78-446C-99A9-1D790EA5A0F1}" type="presOf" srcId="{F182FBDE-9CB2-487C-9838-1508E137BD81}" destId="{E9228C75-0D08-47A7-85A9-84CFB2650F23}" srcOrd="0" destOrd="0" presId="urn:microsoft.com/office/officeart/2005/8/layout/pList1"/>
    <dgm:cxn modelId="{59A336B9-82ED-43FA-9B8F-4C4863B0C7AD}" srcId="{3266FC82-8A8A-4798-9E38-C8F0ED3FA3FE}" destId="{18DE4259-B2AB-44EE-8B74-251F1EEC37C0}" srcOrd="2" destOrd="0" parTransId="{AD343DD8-B945-477E-B241-1BFD32458B2F}" sibTransId="{A2D91B90-F30D-4593-8C85-87857213CFBD}"/>
    <dgm:cxn modelId="{67F452C5-7DA1-44BF-B179-D698C16C04AA}" type="presOf" srcId="{3266FC82-8A8A-4798-9E38-C8F0ED3FA3FE}" destId="{2F7DF9C1-D0B8-4D9E-B1E7-E00038B7D607}" srcOrd="0" destOrd="0" presId="urn:microsoft.com/office/officeart/2005/8/layout/pList1"/>
    <dgm:cxn modelId="{5B6B8ADE-8F29-4427-8C65-634685F09646}" type="presOf" srcId="{3A25E26F-B8A3-49A0-80C7-92D315F9E33F}" destId="{F421888D-C284-4638-B9B7-68F5D89EDF63}" srcOrd="0" destOrd="0" presId="urn:microsoft.com/office/officeart/2005/8/layout/pList1"/>
    <dgm:cxn modelId="{EFEB43EB-F0E4-4F97-A9D7-5E5292A84F0C}" srcId="{3266FC82-8A8A-4798-9E38-C8F0ED3FA3FE}" destId="{CA1E91D5-1CA3-4FB4-86DE-98C89FA76F07}" srcOrd="4" destOrd="0" parTransId="{948370D3-4565-476D-8EE1-D1128D236C20}" sibTransId="{45BC7160-65C2-42A2-95C8-C0BB353B71FF}"/>
    <dgm:cxn modelId="{B8873C0B-9F87-466E-9A6D-26084E633E58}" type="presParOf" srcId="{2F7DF9C1-D0B8-4D9E-B1E7-E00038B7D607}" destId="{BA22A942-0210-4C27-B1E0-65CF9B7D19D2}" srcOrd="0" destOrd="0" presId="urn:microsoft.com/office/officeart/2005/8/layout/pList1"/>
    <dgm:cxn modelId="{A1DB411A-62FC-4C42-BF36-89F2E87228F5}" type="presParOf" srcId="{BA22A942-0210-4C27-B1E0-65CF9B7D19D2}" destId="{CC2DB00F-C6D6-472D-B587-7FB35B4967C3}" srcOrd="0" destOrd="0" presId="urn:microsoft.com/office/officeart/2005/8/layout/pList1"/>
    <dgm:cxn modelId="{5C2F2209-8AED-4688-8AE9-2254B5AD7657}" type="presParOf" srcId="{BA22A942-0210-4C27-B1E0-65CF9B7D19D2}" destId="{90E50430-8C4F-461F-972C-F12F25DF9E44}" srcOrd="1" destOrd="0" presId="urn:microsoft.com/office/officeart/2005/8/layout/pList1"/>
    <dgm:cxn modelId="{E9522D2A-92C8-46D0-9070-3C0C6E53AB6D}" type="presParOf" srcId="{2F7DF9C1-D0B8-4D9E-B1E7-E00038B7D607}" destId="{9077706E-E338-449B-A613-049EB45E10BD}" srcOrd="1" destOrd="0" presId="urn:microsoft.com/office/officeart/2005/8/layout/pList1"/>
    <dgm:cxn modelId="{D7BEC787-9B82-4B36-A7D6-E259320C18DA}" type="presParOf" srcId="{2F7DF9C1-D0B8-4D9E-B1E7-E00038B7D607}" destId="{8998ABB9-11B6-4F62-A30D-BB56F43E693F}" srcOrd="2" destOrd="0" presId="urn:microsoft.com/office/officeart/2005/8/layout/pList1"/>
    <dgm:cxn modelId="{37C496AB-704C-4FEA-B6A1-D0FA992D98FE}" type="presParOf" srcId="{8998ABB9-11B6-4F62-A30D-BB56F43E693F}" destId="{E4A5238C-CAAE-4A17-951B-C54235E80CAF}" srcOrd="0" destOrd="0" presId="urn:microsoft.com/office/officeart/2005/8/layout/pList1"/>
    <dgm:cxn modelId="{C867A62E-BB47-48CE-8FE9-4E55EDFFC57F}" type="presParOf" srcId="{8998ABB9-11B6-4F62-A30D-BB56F43E693F}" destId="{E9228C75-0D08-47A7-85A9-84CFB2650F23}" srcOrd="1" destOrd="0" presId="urn:microsoft.com/office/officeart/2005/8/layout/pList1"/>
    <dgm:cxn modelId="{7BC80055-D05B-4550-9ACD-2071036F8504}" type="presParOf" srcId="{2F7DF9C1-D0B8-4D9E-B1E7-E00038B7D607}" destId="{623EB7C1-28E7-431D-8E75-F7C88F4E3375}" srcOrd="3" destOrd="0" presId="urn:microsoft.com/office/officeart/2005/8/layout/pList1"/>
    <dgm:cxn modelId="{6ABF993C-1253-4AB9-A0E3-25895E73E0F7}" type="presParOf" srcId="{2F7DF9C1-D0B8-4D9E-B1E7-E00038B7D607}" destId="{4897A4B7-F7A8-4896-9F09-FDCB5F569F4E}" srcOrd="4" destOrd="0" presId="urn:microsoft.com/office/officeart/2005/8/layout/pList1"/>
    <dgm:cxn modelId="{417D5667-8F7D-420C-A938-C1A2DD68BD30}" type="presParOf" srcId="{4897A4B7-F7A8-4896-9F09-FDCB5F569F4E}" destId="{5547CE53-8565-4505-ABAE-D18217E53DE6}" srcOrd="0" destOrd="0" presId="urn:microsoft.com/office/officeart/2005/8/layout/pList1"/>
    <dgm:cxn modelId="{0AC82D77-1C8E-42DA-BBF5-2D32381E7906}" type="presParOf" srcId="{4897A4B7-F7A8-4896-9F09-FDCB5F569F4E}" destId="{7D51C66E-4AF5-4BF5-8760-A74E2A8104A3}" srcOrd="1" destOrd="0" presId="urn:microsoft.com/office/officeart/2005/8/layout/pList1"/>
    <dgm:cxn modelId="{3792A20D-6F54-4A6A-8188-76087777F664}" type="presParOf" srcId="{2F7DF9C1-D0B8-4D9E-B1E7-E00038B7D607}" destId="{A159C513-56B2-4B59-8B44-D334CDB73FD2}" srcOrd="5" destOrd="0" presId="urn:microsoft.com/office/officeart/2005/8/layout/pList1"/>
    <dgm:cxn modelId="{D7414313-4F00-4FF7-9F94-9ABDFFD92999}" type="presParOf" srcId="{2F7DF9C1-D0B8-4D9E-B1E7-E00038B7D607}" destId="{B4E348F5-C2B0-4EBE-A18F-A15AD89CE49C}" srcOrd="6" destOrd="0" presId="urn:microsoft.com/office/officeart/2005/8/layout/pList1"/>
    <dgm:cxn modelId="{D965068E-A83E-422C-9377-532CFB5C6129}" type="presParOf" srcId="{B4E348F5-C2B0-4EBE-A18F-A15AD89CE49C}" destId="{309C60D7-B742-4883-9048-6225BC27FA7A}" srcOrd="0" destOrd="0" presId="urn:microsoft.com/office/officeart/2005/8/layout/pList1"/>
    <dgm:cxn modelId="{78BD91C9-E70A-40A2-A724-6D4A75334EAD}" type="presParOf" srcId="{B4E348F5-C2B0-4EBE-A18F-A15AD89CE49C}" destId="{9E0C2835-54DB-4E25-A100-FDE33EFFA940}" srcOrd="1" destOrd="0" presId="urn:microsoft.com/office/officeart/2005/8/layout/pList1"/>
    <dgm:cxn modelId="{668EEF27-05E3-4659-8FA2-5B02CC47BBA8}" type="presParOf" srcId="{2F7DF9C1-D0B8-4D9E-B1E7-E00038B7D607}" destId="{F421888D-C284-4638-B9B7-68F5D89EDF63}" srcOrd="7" destOrd="0" presId="urn:microsoft.com/office/officeart/2005/8/layout/pList1"/>
    <dgm:cxn modelId="{BF47E506-91D6-4E92-8893-B32B32A14E33}" type="presParOf" srcId="{2F7DF9C1-D0B8-4D9E-B1E7-E00038B7D607}" destId="{F9D21C01-E9B2-4116-BAAF-A8751899A337}" srcOrd="8" destOrd="0" presId="urn:microsoft.com/office/officeart/2005/8/layout/pList1"/>
    <dgm:cxn modelId="{4E4C2D7C-769D-48B7-BFE3-916C6D50C806}" type="presParOf" srcId="{F9D21C01-E9B2-4116-BAAF-A8751899A337}" destId="{7F56166F-B35F-499D-9EAD-C3E28542FCBD}" srcOrd="0" destOrd="0" presId="urn:microsoft.com/office/officeart/2005/8/layout/pList1"/>
    <dgm:cxn modelId="{88D89938-8E84-4433-B237-5D1A8EB5F2CB}" type="presParOf" srcId="{F9D21C01-E9B2-4116-BAAF-A8751899A337}" destId="{60C6334F-F70B-482F-A569-5377EECF968E}" srcOrd="1" destOrd="0" presId="urn:microsoft.com/office/officeart/2005/8/layout/p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2DB00F-C6D6-472D-B587-7FB35B4967C3}">
      <dsp:nvSpPr>
        <dsp:cNvPr id="0" name=""/>
        <dsp:cNvSpPr/>
      </dsp:nvSpPr>
      <dsp:spPr>
        <a:xfrm>
          <a:off x="213305" y="2487"/>
          <a:ext cx="2815303" cy="1939743"/>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4000" r="-4000"/>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E50430-8C4F-461F-972C-F12F25DF9E44}">
      <dsp:nvSpPr>
        <dsp:cNvPr id="0" name=""/>
        <dsp:cNvSpPr/>
      </dsp:nvSpPr>
      <dsp:spPr>
        <a:xfrm>
          <a:off x="457608" y="1773906"/>
          <a:ext cx="2326696" cy="8632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163576" rIns="163576" bIns="0" numCol="1" spcCol="1270" anchor="t" anchorCtr="0">
          <a:noAutofit/>
        </a:bodyPr>
        <a:lstStyle/>
        <a:p>
          <a:pPr marL="0" lvl="0" indent="0" algn="ctr" defTabSz="1022350">
            <a:lnSpc>
              <a:spcPct val="90000"/>
            </a:lnSpc>
            <a:spcBef>
              <a:spcPct val="0"/>
            </a:spcBef>
            <a:spcAft>
              <a:spcPct val="35000"/>
            </a:spcAft>
            <a:buNone/>
          </a:pPr>
          <a:r>
            <a:rPr lang="en-US" sz="2300" kern="1200" dirty="0">
              <a:solidFill>
                <a:schemeClr val="bg1"/>
              </a:solidFill>
            </a:rPr>
            <a:t>Speech Processing</a:t>
          </a:r>
        </a:p>
      </dsp:txBody>
      <dsp:txXfrm>
        <a:off x="457608" y="1773906"/>
        <a:ext cx="2326696" cy="863204"/>
      </dsp:txXfrm>
    </dsp:sp>
    <dsp:sp modelId="{E4A5238C-CAAE-4A17-951B-C54235E80CAF}">
      <dsp:nvSpPr>
        <dsp:cNvPr id="0" name=""/>
        <dsp:cNvSpPr/>
      </dsp:nvSpPr>
      <dsp:spPr>
        <a:xfrm>
          <a:off x="3261375" y="2487"/>
          <a:ext cx="2815303" cy="1939743"/>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228C75-0D08-47A7-85A9-84CFB2650F23}">
      <dsp:nvSpPr>
        <dsp:cNvPr id="0" name=""/>
        <dsp:cNvSpPr/>
      </dsp:nvSpPr>
      <dsp:spPr>
        <a:xfrm>
          <a:off x="3505586" y="1837205"/>
          <a:ext cx="2326696" cy="8632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163576" rIns="163576" bIns="0" numCol="1" spcCol="1270" anchor="t" anchorCtr="0">
          <a:noAutofit/>
        </a:bodyPr>
        <a:lstStyle/>
        <a:p>
          <a:pPr marL="0" lvl="0" indent="0" algn="ctr" defTabSz="1022350">
            <a:lnSpc>
              <a:spcPct val="90000"/>
            </a:lnSpc>
            <a:spcBef>
              <a:spcPct val="0"/>
            </a:spcBef>
            <a:spcAft>
              <a:spcPct val="35000"/>
            </a:spcAft>
            <a:buNone/>
          </a:pPr>
          <a:r>
            <a:rPr lang="en-US" sz="2300" kern="1200" dirty="0">
              <a:solidFill>
                <a:schemeClr val="bg1"/>
              </a:solidFill>
            </a:rPr>
            <a:t>Bioinformatics</a:t>
          </a:r>
        </a:p>
      </dsp:txBody>
      <dsp:txXfrm>
        <a:off x="3505586" y="1837205"/>
        <a:ext cx="2326696" cy="863204"/>
      </dsp:txXfrm>
    </dsp:sp>
    <dsp:sp modelId="{5547CE53-8565-4505-ABAE-D18217E53DE6}">
      <dsp:nvSpPr>
        <dsp:cNvPr id="0" name=""/>
        <dsp:cNvSpPr/>
      </dsp:nvSpPr>
      <dsp:spPr>
        <a:xfrm>
          <a:off x="6309446" y="2487"/>
          <a:ext cx="2815303" cy="1939743"/>
        </a:xfrm>
        <a:prstGeom prst="roundRect">
          <a:avLst/>
        </a:prstGeom>
        <a:blipFill>
          <a:blip xmlns:r="http://schemas.openxmlformats.org/officeDocument/2006/relationships" r:embed="rId3">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a:stretch>
            <a:fillRect t="-22000" b="-22000"/>
          </a:stretch>
        </a:blip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51C66E-4AF5-4BF5-8760-A74E2A8104A3}">
      <dsp:nvSpPr>
        <dsp:cNvPr id="0" name=""/>
        <dsp:cNvSpPr/>
      </dsp:nvSpPr>
      <dsp:spPr>
        <a:xfrm>
          <a:off x="6603889" y="1853718"/>
          <a:ext cx="2326696" cy="8632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163576" rIns="163576" bIns="0" numCol="1" spcCol="1270" anchor="t" anchorCtr="0">
          <a:noAutofit/>
        </a:bodyPr>
        <a:lstStyle/>
        <a:p>
          <a:pPr marL="0" lvl="0" indent="0" algn="ctr" defTabSz="1022350">
            <a:lnSpc>
              <a:spcPct val="90000"/>
            </a:lnSpc>
            <a:spcBef>
              <a:spcPct val="0"/>
            </a:spcBef>
            <a:spcAft>
              <a:spcPct val="35000"/>
            </a:spcAft>
            <a:buNone/>
          </a:pPr>
          <a:r>
            <a:rPr lang="en-US" sz="2300" kern="1200" dirty="0">
              <a:solidFill>
                <a:schemeClr val="bg1"/>
              </a:solidFill>
            </a:rPr>
            <a:t>NLP</a:t>
          </a:r>
        </a:p>
      </dsp:txBody>
      <dsp:txXfrm>
        <a:off x="6603889" y="1853718"/>
        <a:ext cx="2326696" cy="863204"/>
      </dsp:txXfrm>
    </dsp:sp>
    <dsp:sp modelId="{309C60D7-B742-4883-9048-6225BC27FA7A}">
      <dsp:nvSpPr>
        <dsp:cNvPr id="0" name=""/>
        <dsp:cNvSpPr/>
      </dsp:nvSpPr>
      <dsp:spPr>
        <a:xfrm>
          <a:off x="1704417" y="2869780"/>
          <a:ext cx="2815303" cy="1939743"/>
        </a:xfrm>
        <a:prstGeom prst="round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10000" r="-10000"/>
          </a:stretch>
        </a:blip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0C2835-54DB-4E25-A100-FDE33EFFA940}">
      <dsp:nvSpPr>
        <dsp:cNvPr id="0" name=""/>
        <dsp:cNvSpPr/>
      </dsp:nvSpPr>
      <dsp:spPr>
        <a:xfrm>
          <a:off x="1990648" y="4643687"/>
          <a:ext cx="2326696" cy="8632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163576" rIns="163576" bIns="0" numCol="1" spcCol="1270" anchor="t" anchorCtr="0">
          <a:noAutofit/>
        </a:bodyPr>
        <a:lstStyle/>
        <a:p>
          <a:pPr marL="0" lvl="0" indent="0" algn="ctr" defTabSz="1022350">
            <a:lnSpc>
              <a:spcPct val="90000"/>
            </a:lnSpc>
            <a:spcBef>
              <a:spcPct val="0"/>
            </a:spcBef>
            <a:spcAft>
              <a:spcPct val="35000"/>
            </a:spcAft>
            <a:buNone/>
          </a:pPr>
          <a:r>
            <a:rPr lang="en-US" sz="2300" kern="1200" dirty="0">
              <a:solidFill>
                <a:schemeClr val="bg1"/>
              </a:solidFill>
            </a:rPr>
            <a:t>Finance</a:t>
          </a:r>
        </a:p>
      </dsp:txBody>
      <dsp:txXfrm>
        <a:off x="1990648" y="4643687"/>
        <a:ext cx="2326696" cy="863204"/>
      </dsp:txXfrm>
    </dsp:sp>
    <dsp:sp modelId="{7F56166F-B35F-499D-9EAD-C3E28542FCBD}">
      <dsp:nvSpPr>
        <dsp:cNvPr id="0" name=""/>
        <dsp:cNvSpPr/>
      </dsp:nvSpPr>
      <dsp:spPr>
        <a:xfrm>
          <a:off x="4752488" y="2869780"/>
          <a:ext cx="2881148" cy="1939743"/>
        </a:xfrm>
        <a:prstGeom prst="round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23000" b="-23000"/>
          </a:stretch>
        </a:blip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C6334F-F70B-482F-A569-5377EECF968E}">
      <dsp:nvSpPr>
        <dsp:cNvPr id="0" name=""/>
        <dsp:cNvSpPr/>
      </dsp:nvSpPr>
      <dsp:spPr>
        <a:xfrm>
          <a:off x="5029714" y="4641199"/>
          <a:ext cx="2326696" cy="8632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163576" rIns="163576" bIns="0" numCol="1" spcCol="1270" anchor="t" anchorCtr="0">
          <a:noAutofit/>
        </a:bodyPr>
        <a:lstStyle/>
        <a:p>
          <a:pPr marL="0" lvl="0" indent="0" algn="ctr" defTabSz="1022350">
            <a:lnSpc>
              <a:spcPct val="90000"/>
            </a:lnSpc>
            <a:spcBef>
              <a:spcPct val="0"/>
            </a:spcBef>
            <a:spcAft>
              <a:spcPct val="35000"/>
            </a:spcAft>
            <a:buNone/>
          </a:pPr>
          <a:endParaRPr lang="en-US" sz="2300" kern="1200"/>
        </a:p>
      </dsp:txBody>
      <dsp:txXfrm>
        <a:off x="5029714" y="4641199"/>
        <a:ext cx="2326696" cy="863204"/>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20/01/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20/01/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seanpollock?utm_source=unsplash&amp;utm_medium=referral&amp;utm_content=creditCopyTex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unsplash.com/search/photos/office-building?utm_source=unsplash&amp;utm_medium=referral&amp;utm_content=creditCopyText"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seanpollock?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earch/photos/office-building?utm_source=unsplash&amp;utm_medium=referral&amp;utm_content=creditCopyText" TargetMode="Externa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seanpollock?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earch/photos/office-building?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1D91-B04F-928E-0746-EE56961D61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98811A-724B-FE77-4C64-6A6FE2BA19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95A167-2AE6-63B7-C003-40E81AE9A00C}"/>
              </a:ext>
            </a:extLst>
          </p:cNvPr>
          <p:cNvSpPr>
            <a:spLocks noGrp="1"/>
          </p:cNvSpPr>
          <p:nvPr>
            <p:ph type="body" idx="1"/>
          </p:nvPr>
        </p:nvSpPr>
        <p:spPr/>
        <p:txBody>
          <a:bodyPr/>
          <a:lstStyle/>
          <a:p>
            <a:r>
              <a:rPr lang="en-US" dirty="0"/>
              <a:t>© Copyright </a:t>
            </a:r>
            <a:r>
              <a:rPr lang="en-US" b="1" dirty="0"/>
              <a:t>PresentationGO.com</a:t>
            </a:r>
            <a:r>
              <a:rPr lang="en-US" dirty="0"/>
              <a:t> – The free PowerPoint and Google Slides template library</a:t>
            </a:r>
          </a:p>
        </p:txBody>
      </p:sp>
      <p:sp>
        <p:nvSpPr>
          <p:cNvPr id="4" name="Slide Number Placeholder 3">
            <a:extLst>
              <a:ext uri="{FF2B5EF4-FFF2-40B4-BE49-F238E27FC236}">
                <a16:creationId xmlns:a16="http://schemas.microsoft.com/office/drawing/2014/main" id="{81F41DAC-5087-1652-13B4-403DBFB5EF2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161351-45AB-40CD-AF62-AF3DF66873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245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0</a:t>
            </a:fld>
            <a:endParaRPr lang="en-ID"/>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1</a:t>
            </a:fld>
            <a:endParaRPr lang="en-ID"/>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EB36A-7AA7-E38B-4BB1-8BFB6213F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F5DBC6-E1F2-24DC-7903-945536B84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30B8B1-2630-F156-31FD-55CA2DF559FF}"/>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C6EA6205-C455-B1C6-649E-17CA210ED649}"/>
              </a:ext>
            </a:extLst>
          </p:cNvPr>
          <p:cNvSpPr>
            <a:spLocks noGrp="1"/>
          </p:cNvSpPr>
          <p:nvPr>
            <p:ph type="sldNum" sz="quarter" idx="5"/>
          </p:nvPr>
        </p:nvSpPr>
        <p:spPr/>
        <p:txBody>
          <a:bodyPr/>
          <a:lstStyle/>
          <a:p>
            <a:fld id="{8ECE837E-594B-4F0F-92F5-F20D4296AC5C}" type="slidenum">
              <a:rPr lang="en-ID" smtClean="0"/>
              <a:t>12</a:t>
            </a:fld>
            <a:endParaRPr lang="en-ID"/>
          </a:p>
        </p:txBody>
      </p:sp>
    </p:spTree>
    <p:extLst>
      <p:ext uri="{BB962C8B-B14F-4D97-AF65-F5344CB8AC3E}">
        <p14:creationId xmlns:p14="http://schemas.microsoft.com/office/powerpoint/2010/main" val="977708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D9250-2050-B273-A761-136B652EB8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88D8B-1F62-CD06-FD5E-98C699133F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17D256-6FF3-0977-D80A-A0EE7875B41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8493ECDA-11E2-8826-E2A4-9E4008AA6783}"/>
              </a:ext>
            </a:extLst>
          </p:cNvPr>
          <p:cNvSpPr>
            <a:spLocks noGrp="1"/>
          </p:cNvSpPr>
          <p:nvPr>
            <p:ph type="sldNum" sz="quarter" idx="5"/>
          </p:nvPr>
        </p:nvSpPr>
        <p:spPr/>
        <p:txBody>
          <a:bodyPr/>
          <a:lstStyle/>
          <a:p>
            <a:fld id="{8ECE837E-594B-4F0F-92F5-F20D4296AC5C}" type="slidenum">
              <a:rPr lang="en-ID" smtClean="0"/>
              <a:t>13</a:t>
            </a:fld>
            <a:endParaRPr lang="en-ID"/>
          </a:p>
        </p:txBody>
      </p:sp>
    </p:spTree>
    <p:extLst>
      <p:ext uri="{BB962C8B-B14F-4D97-AF65-F5344CB8AC3E}">
        <p14:creationId xmlns:p14="http://schemas.microsoft.com/office/powerpoint/2010/main" val="2852433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CECB9-36FD-D8DD-007C-775855200D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213648-2932-3BC6-06FB-3A06FF5F10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6111DB-BDA2-2FCD-031C-8EC0748C860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AF35AEE1-5C4E-E817-1F35-F4FA67D7AF0D}"/>
              </a:ext>
            </a:extLst>
          </p:cNvPr>
          <p:cNvSpPr>
            <a:spLocks noGrp="1"/>
          </p:cNvSpPr>
          <p:nvPr>
            <p:ph type="sldNum" sz="quarter" idx="5"/>
          </p:nvPr>
        </p:nvSpPr>
        <p:spPr/>
        <p:txBody>
          <a:bodyPr/>
          <a:lstStyle/>
          <a:p>
            <a:fld id="{8ECE837E-594B-4F0F-92F5-F20D4296AC5C}" type="slidenum">
              <a:rPr lang="en-ID" smtClean="0"/>
              <a:t>14</a:t>
            </a:fld>
            <a:endParaRPr lang="en-ID"/>
          </a:p>
        </p:txBody>
      </p:sp>
    </p:spTree>
    <p:extLst>
      <p:ext uri="{BB962C8B-B14F-4D97-AF65-F5344CB8AC3E}">
        <p14:creationId xmlns:p14="http://schemas.microsoft.com/office/powerpoint/2010/main" val="2540608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943FE-4FCC-6A0A-F651-E1C3AF1AE2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5A4ED-1709-F9CB-A2D1-68278731FE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5646A1-9FD7-126F-7C3D-59111BA84D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C7B539D1-F8BC-9FE3-D808-2AB0DEB93EE7}"/>
              </a:ext>
            </a:extLst>
          </p:cNvPr>
          <p:cNvSpPr>
            <a:spLocks noGrp="1"/>
          </p:cNvSpPr>
          <p:nvPr>
            <p:ph type="sldNum" sz="quarter" idx="5"/>
          </p:nvPr>
        </p:nvSpPr>
        <p:spPr/>
        <p:txBody>
          <a:bodyPr/>
          <a:lstStyle/>
          <a:p>
            <a:fld id="{8ECE837E-594B-4F0F-92F5-F20D4296AC5C}" type="slidenum">
              <a:rPr lang="en-ID" smtClean="0"/>
              <a:t>15</a:t>
            </a:fld>
            <a:endParaRPr lang="en-ID"/>
          </a:p>
        </p:txBody>
      </p:sp>
    </p:spTree>
    <p:extLst>
      <p:ext uri="{BB962C8B-B14F-4D97-AF65-F5344CB8AC3E}">
        <p14:creationId xmlns:p14="http://schemas.microsoft.com/office/powerpoint/2010/main" val="376786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C6824-E238-F780-E4B7-FC1EAB543E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C06D6A-CF96-7A85-B7D7-2269A9D8EA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95B1A3-5E1E-5EEA-8305-1864DF05F44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DE8BAE68-BA3F-98BA-3A58-A26C637333DD}"/>
              </a:ext>
            </a:extLst>
          </p:cNvPr>
          <p:cNvSpPr>
            <a:spLocks noGrp="1"/>
          </p:cNvSpPr>
          <p:nvPr>
            <p:ph type="sldNum" sz="quarter" idx="5"/>
          </p:nvPr>
        </p:nvSpPr>
        <p:spPr/>
        <p:txBody>
          <a:bodyPr/>
          <a:lstStyle/>
          <a:p>
            <a:fld id="{8ECE837E-594B-4F0F-92F5-F20D4296AC5C}" type="slidenum">
              <a:rPr lang="en-ID" smtClean="0"/>
              <a:t>16</a:t>
            </a:fld>
            <a:endParaRPr lang="en-ID"/>
          </a:p>
        </p:txBody>
      </p:sp>
    </p:spTree>
    <p:extLst>
      <p:ext uri="{BB962C8B-B14F-4D97-AF65-F5344CB8AC3E}">
        <p14:creationId xmlns:p14="http://schemas.microsoft.com/office/powerpoint/2010/main" val="1691247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89EDA-73A6-7D25-D2F8-AB62EF5377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4ACD4C-BFEF-CCC6-C9B1-0DD6F78223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D5FE43-7A28-01AD-3E08-89482041040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40DA1C22-09E0-C8E7-C9B3-C5CB1C2BDAA2}"/>
              </a:ext>
            </a:extLst>
          </p:cNvPr>
          <p:cNvSpPr>
            <a:spLocks noGrp="1"/>
          </p:cNvSpPr>
          <p:nvPr>
            <p:ph type="sldNum" sz="quarter" idx="5"/>
          </p:nvPr>
        </p:nvSpPr>
        <p:spPr/>
        <p:txBody>
          <a:bodyPr/>
          <a:lstStyle/>
          <a:p>
            <a:fld id="{8ECE837E-594B-4F0F-92F5-F20D4296AC5C}" type="slidenum">
              <a:rPr lang="en-ID" smtClean="0"/>
              <a:t>17</a:t>
            </a:fld>
            <a:endParaRPr lang="en-ID"/>
          </a:p>
        </p:txBody>
      </p:sp>
    </p:spTree>
    <p:extLst>
      <p:ext uri="{BB962C8B-B14F-4D97-AF65-F5344CB8AC3E}">
        <p14:creationId xmlns:p14="http://schemas.microsoft.com/office/powerpoint/2010/main" val="2945825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FB9DD-6341-D8B9-523C-963664C3A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AEE80E-8628-D484-E8B7-1F93E6ABC2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082183-E0D2-122A-F3FD-B8434C5F48B6}"/>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812244C2-7EEB-D9DF-662D-73EFB1CA7B87}"/>
              </a:ext>
            </a:extLst>
          </p:cNvPr>
          <p:cNvSpPr>
            <a:spLocks noGrp="1"/>
          </p:cNvSpPr>
          <p:nvPr>
            <p:ph type="sldNum" sz="quarter" idx="5"/>
          </p:nvPr>
        </p:nvSpPr>
        <p:spPr/>
        <p:txBody>
          <a:bodyPr/>
          <a:lstStyle/>
          <a:p>
            <a:fld id="{8ECE837E-594B-4F0F-92F5-F20D4296AC5C}" type="slidenum">
              <a:rPr lang="en-ID" smtClean="0"/>
              <a:t>18</a:t>
            </a:fld>
            <a:endParaRPr lang="en-ID"/>
          </a:p>
        </p:txBody>
      </p:sp>
    </p:spTree>
    <p:extLst>
      <p:ext uri="{BB962C8B-B14F-4D97-AF65-F5344CB8AC3E}">
        <p14:creationId xmlns:p14="http://schemas.microsoft.com/office/powerpoint/2010/main" val="2644458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D1554-5C11-3E9A-1A1F-80D00F4239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706C8E-6FBD-9F50-5CAA-DF7F62530A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C86593-9EE7-2690-D91A-D9F2B262738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802B3E1F-5FD6-8663-4A3F-B790BFBBF690}"/>
              </a:ext>
            </a:extLst>
          </p:cNvPr>
          <p:cNvSpPr>
            <a:spLocks noGrp="1"/>
          </p:cNvSpPr>
          <p:nvPr>
            <p:ph type="sldNum" sz="quarter" idx="5"/>
          </p:nvPr>
        </p:nvSpPr>
        <p:spPr/>
        <p:txBody>
          <a:bodyPr/>
          <a:lstStyle/>
          <a:p>
            <a:fld id="{8ECE837E-594B-4F0F-92F5-F20D4296AC5C}" type="slidenum">
              <a:rPr lang="en-ID" smtClean="0"/>
              <a:t>19</a:t>
            </a:fld>
            <a:endParaRPr lang="en-ID"/>
          </a:p>
        </p:txBody>
      </p:sp>
    </p:spTree>
    <p:extLst>
      <p:ext uri="{BB962C8B-B14F-4D97-AF65-F5344CB8AC3E}">
        <p14:creationId xmlns:p14="http://schemas.microsoft.com/office/powerpoint/2010/main" val="778704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pyright </a:t>
            </a:r>
            <a:r>
              <a:rPr lang="en-US" b="1" dirty="0"/>
              <a:t>PresentationGO.com</a:t>
            </a:r>
            <a:r>
              <a:rPr lang="en-US" dirty="0"/>
              <a:t> – The free PowerPoint and Google Slides template librar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161351-45AB-40CD-AF62-AF3DF66873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7453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3E0DB-B838-FFDD-F08D-4303986B2F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58BE0D-8480-AC0F-A26D-43EBE68824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51AECD-08A3-573D-660E-B50FF8826D15}"/>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33F3F05D-0EF9-813D-966A-4393EBA79134}"/>
              </a:ext>
            </a:extLst>
          </p:cNvPr>
          <p:cNvSpPr>
            <a:spLocks noGrp="1"/>
          </p:cNvSpPr>
          <p:nvPr>
            <p:ph type="sldNum" sz="quarter" idx="5"/>
          </p:nvPr>
        </p:nvSpPr>
        <p:spPr/>
        <p:txBody>
          <a:bodyPr/>
          <a:lstStyle/>
          <a:p>
            <a:fld id="{8ECE837E-594B-4F0F-92F5-F20D4296AC5C}" type="slidenum">
              <a:rPr lang="en-ID" smtClean="0"/>
              <a:t>20</a:t>
            </a:fld>
            <a:endParaRPr lang="en-ID"/>
          </a:p>
        </p:txBody>
      </p:sp>
    </p:spTree>
    <p:extLst>
      <p:ext uri="{BB962C8B-B14F-4D97-AF65-F5344CB8AC3E}">
        <p14:creationId xmlns:p14="http://schemas.microsoft.com/office/powerpoint/2010/main" val="1313463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0312D-0354-4BE1-D340-EF5089652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784F85-4A79-4F0C-6E67-A5EBD81D36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554B31-0FC7-D38B-DADA-E7A3B5F35E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983A1533-4342-E33B-D16C-D7D07E15C8A0}"/>
              </a:ext>
            </a:extLst>
          </p:cNvPr>
          <p:cNvSpPr>
            <a:spLocks noGrp="1"/>
          </p:cNvSpPr>
          <p:nvPr>
            <p:ph type="sldNum" sz="quarter" idx="5"/>
          </p:nvPr>
        </p:nvSpPr>
        <p:spPr/>
        <p:txBody>
          <a:bodyPr/>
          <a:lstStyle/>
          <a:p>
            <a:fld id="{8ECE837E-594B-4F0F-92F5-F20D4296AC5C}" type="slidenum">
              <a:rPr lang="en-ID" smtClean="0"/>
              <a:t>21</a:t>
            </a:fld>
            <a:endParaRPr lang="en-ID"/>
          </a:p>
        </p:txBody>
      </p:sp>
    </p:spTree>
    <p:extLst>
      <p:ext uri="{BB962C8B-B14F-4D97-AF65-F5344CB8AC3E}">
        <p14:creationId xmlns:p14="http://schemas.microsoft.com/office/powerpoint/2010/main" val="3363966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3E37A-51F5-01B0-18B7-BA31A690D6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654A7D-3A40-9056-BF97-96CE916D63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B2FA1D-D945-EBB7-07BA-D83A7D5E05B7}"/>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95ECD0C9-6091-A8B8-0A8B-6C4727F0D429}"/>
              </a:ext>
            </a:extLst>
          </p:cNvPr>
          <p:cNvSpPr>
            <a:spLocks noGrp="1"/>
          </p:cNvSpPr>
          <p:nvPr>
            <p:ph type="sldNum" sz="quarter" idx="5"/>
          </p:nvPr>
        </p:nvSpPr>
        <p:spPr/>
        <p:txBody>
          <a:bodyPr/>
          <a:lstStyle/>
          <a:p>
            <a:fld id="{8ECE837E-594B-4F0F-92F5-F20D4296AC5C}" type="slidenum">
              <a:rPr lang="en-ID" smtClean="0"/>
              <a:t>22</a:t>
            </a:fld>
            <a:endParaRPr lang="en-ID"/>
          </a:p>
        </p:txBody>
      </p:sp>
    </p:spTree>
    <p:extLst>
      <p:ext uri="{BB962C8B-B14F-4D97-AF65-F5344CB8AC3E}">
        <p14:creationId xmlns:p14="http://schemas.microsoft.com/office/powerpoint/2010/main" val="2438594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5D41D-C633-EAB3-4A81-914473ACA0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170C75-5775-565F-8F00-B649B236A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F1338B-F759-14D3-9F36-26F0B4CA7F3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0A9D363A-058B-4346-0671-60A06FAB1D20}"/>
              </a:ext>
            </a:extLst>
          </p:cNvPr>
          <p:cNvSpPr>
            <a:spLocks noGrp="1"/>
          </p:cNvSpPr>
          <p:nvPr>
            <p:ph type="sldNum" sz="quarter" idx="5"/>
          </p:nvPr>
        </p:nvSpPr>
        <p:spPr/>
        <p:txBody>
          <a:bodyPr/>
          <a:lstStyle/>
          <a:p>
            <a:fld id="{8ECE837E-594B-4F0F-92F5-F20D4296AC5C}" type="slidenum">
              <a:rPr lang="en-ID" smtClean="0"/>
              <a:t>23</a:t>
            </a:fld>
            <a:endParaRPr lang="en-ID"/>
          </a:p>
        </p:txBody>
      </p:sp>
    </p:spTree>
    <p:extLst>
      <p:ext uri="{BB962C8B-B14F-4D97-AF65-F5344CB8AC3E}">
        <p14:creationId xmlns:p14="http://schemas.microsoft.com/office/powerpoint/2010/main" val="18940985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2BDAF-F38F-0C26-E634-E30DF95DCB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E16E65-5D0D-513C-CCE2-F6023B6E3E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8993BB-B3CA-5FD8-1395-49093F9ECDD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A8B15F3D-E4EC-121E-18C5-D8C231B08947}"/>
              </a:ext>
            </a:extLst>
          </p:cNvPr>
          <p:cNvSpPr>
            <a:spLocks noGrp="1"/>
          </p:cNvSpPr>
          <p:nvPr>
            <p:ph type="sldNum" sz="quarter" idx="5"/>
          </p:nvPr>
        </p:nvSpPr>
        <p:spPr/>
        <p:txBody>
          <a:bodyPr/>
          <a:lstStyle/>
          <a:p>
            <a:fld id="{8ECE837E-594B-4F0F-92F5-F20D4296AC5C}" type="slidenum">
              <a:rPr lang="en-ID" smtClean="0"/>
              <a:t>24</a:t>
            </a:fld>
            <a:endParaRPr lang="en-ID"/>
          </a:p>
        </p:txBody>
      </p:sp>
    </p:spTree>
    <p:extLst>
      <p:ext uri="{BB962C8B-B14F-4D97-AF65-F5344CB8AC3E}">
        <p14:creationId xmlns:p14="http://schemas.microsoft.com/office/powerpoint/2010/main" val="24408948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9D977-34EA-822C-F291-8144F14FA0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0928CB-361B-B923-3995-CF633AB02B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C7F67A-C107-1D4F-B53D-46F8BF5BF15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6BD89CB2-C0EA-E3C0-0761-E8F57D7DEFD3}"/>
              </a:ext>
            </a:extLst>
          </p:cNvPr>
          <p:cNvSpPr>
            <a:spLocks noGrp="1"/>
          </p:cNvSpPr>
          <p:nvPr>
            <p:ph type="sldNum" sz="quarter" idx="5"/>
          </p:nvPr>
        </p:nvSpPr>
        <p:spPr/>
        <p:txBody>
          <a:bodyPr/>
          <a:lstStyle/>
          <a:p>
            <a:fld id="{8ECE837E-594B-4F0F-92F5-F20D4296AC5C}" type="slidenum">
              <a:rPr lang="en-ID" smtClean="0"/>
              <a:t>25</a:t>
            </a:fld>
            <a:endParaRPr lang="en-ID"/>
          </a:p>
        </p:txBody>
      </p:sp>
    </p:spTree>
    <p:extLst>
      <p:ext uri="{BB962C8B-B14F-4D97-AF65-F5344CB8AC3E}">
        <p14:creationId xmlns:p14="http://schemas.microsoft.com/office/powerpoint/2010/main" val="346520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DAD32-6F18-BF0D-B41C-3AFF7F81C8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27D01B-756E-96F1-A059-9DC4077F73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DA8328-AE9B-608A-3B8B-D8B45302EAA9}"/>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DDE1CDC4-063A-6E27-928C-F39CECD2B7C5}"/>
              </a:ext>
            </a:extLst>
          </p:cNvPr>
          <p:cNvSpPr>
            <a:spLocks noGrp="1"/>
          </p:cNvSpPr>
          <p:nvPr>
            <p:ph type="sldNum" sz="quarter" idx="5"/>
          </p:nvPr>
        </p:nvSpPr>
        <p:spPr/>
        <p:txBody>
          <a:bodyPr/>
          <a:lstStyle/>
          <a:p>
            <a:fld id="{8ECE837E-594B-4F0F-92F5-F20D4296AC5C}" type="slidenum">
              <a:rPr lang="en-ID" smtClean="0"/>
              <a:t>26</a:t>
            </a:fld>
            <a:endParaRPr lang="en-ID"/>
          </a:p>
        </p:txBody>
      </p:sp>
    </p:spTree>
    <p:extLst>
      <p:ext uri="{BB962C8B-B14F-4D97-AF65-F5344CB8AC3E}">
        <p14:creationId xmlns:p14="http://schemas.microsoft.com/office/powerpoint/2010/main" val="855419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351C5-5D5B-1540-3E49-D9E54D0028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C0C31C-7938-8D26-7C67-9E3A22133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CD2AE1-AEFB-0B4B-AD15-C7FE933E05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0527E494-CBC5-7360-CF46-51E8652528F5}"/>
              </a:ext>
            </a:extLst>
          </p:cNvPr>
          <p:cNvSpPr>
            <a:spLocks noGrp="1"/>
          </p:cNvSpPr>
          <p:nvPr>
            <p:ph type="sldNum" sz="quarter" idx="5"/>
          </p:nvPr>
        </p:nvSpPr>
        <p:spPr/>
        <p:txBody>
          <a:bodyPr/>
          <a:lstStyle/>
          <a:p>
            <a:fld id="{8ECE837E-594B-4F0F-92F5-F20D4296AC5C}" type="slidenum">
              <a:rPr lang="en-ID" smtClean="0"/>
              <a:t>27</a:t>
            </a:fld>
            <a:endParaRPr lang="en-ID"/>
          </a:p>
        </p:txBody>
      </p:sp>
    </p:spTree>
    <p:extLst>
      <p:ext uri="{BB962C8B-B14F-4D97-AF65-F5344CB8AC3E}">
        <p14:creationId xmlns:p14="http://schemas.microsoft.com/office/powerpoint/2010/main" val="8644843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28248-46E1-EA94-ED3D-BCB178CC7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F30B15-043A-910C-746E-87907610B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CAC601-E18F-D2C5-C5C1-65346D6E50F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EB4B4A63-1FDA-1C07-3AB0-7ED0B0E38BE4}"/>
              </a:ext>
            </a:extLst>
          </p:cNvPr>
          <p:cNvSpPr>
            <a:spLocks noGrp="1"/>
          </p:cNvSpPr>
          <p:nvPr>
            <p:ph type="sldNum" sz="quarter" idx="5"/>
          </p:nvPr>
        </p:nvSpPr>
        <p:spPr/>
        <p:txBody>
          <a:bodyPr/>
          <a:lstStyle/>
          <a:p>
            <a:fld id="{8ECE837E-594B-4F0F-92F5-F20D4296AC5C}" type="slidenum">
              <a:rPr lang="en-ID" smtClean="0"/>
              <a:t>28</a:t>
            </a:fld>
            <a:endParaRPr lang="en-ID"/>
          </a:p>
        </p:txBody>
      </p:sp>
    </p:spTree>
    <p:extLst>
      <p:ext uri="{BB962C8B-B14F-4D97-AF65-F5344CB8AC3E}">
        <p14:creationId xmlns:p14="http://schemas.microsoft.com/office/powerpoint/2010/main" val="26780895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AF1D0-C48B-D91D-D27F-0F9993A68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C7555-5692-DD70-931F-DE0ABBDF1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DE5FD9-8037-DFD0-845A-0AE9A565867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EB038C89-A02F-625B-2D5C-5F94771E7320}"/>
              </a:ext>
            </a:extLst>
          </p:cNvPr>
          <p:cNvSpPr>
            <a:spLocks noGrp="1"/>
          </p:cNvSpPr>
          <p:nvPr>
            <p:ph type="sldNum" sz="quarter" idx="5"/>
          </p:nvPr>
        </p:nvSpPr>
        <p:spPr/>
        <p:txBody>
          <a:bodyPr/>
          <a:lstStyle/>
          <a:p>
            <a:fld id="{8ECE837E-594B-4F0F-92F5-F20D4296AC5C}" type="slidenum">
              <a:rPr lang="en-ID" smtClean="0"/>
              <a:t>29</a:t>
            </a:fld>
            <a:endParaRPr lang="en-ID"/>
          </a:p>
        </p:txBody>
      </p:sp>
    </p:spTree>
    <p:extLst>
      <p:ext uri="{BB962C8B-B14F-4D97-AF65-F5344CB8AC3E}">
        <p14:creationId xmlns:p14="http://schemas.microsoft.com/office/powerpoint/2010/main" val="728537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0" i="0" kern="1200" dirty="0">
                <a:solidFill>
                  <a:schemeClr val="tx1"/>
                </a:solidFill>
                <a:effectLst/>
                <a:latin typeface="+mn-lt"/>
                <a:ea typeface="+mn-ea"/>
                <a:cs typeface="+mn-cs"/>
                <a:hlinkClick r:id="rId3"/>
              </a:rPr>
              <a:t>Sean Pollock</a:t>
            </a:r>
            <a:r>
              <a:rPr lang="en-US" sz="1200" b="0" i="0" kern="1200" dirty="0">
                <a:solidFill>
                  <a:schemeClr val="tx1"/>
                </a:solidFill>
                <a:effectLst/>
                <a:latin typeface="+mn-lt"/>
                <a:ea typeface="+mn-ea"/>
                <a:cs typeface="+mn-cs"/>
              </a:rPr>
              <a:t> on </a:t>
            </a:r>
            <a:r>
              <a:rPr lang="en-US" sz="1200" b="0" i="0"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14BE8BA1-7CE3-425B-ABEE-5C320703B71B}" type="slidenum">
              <a:rPr lang="en-US" smtClean="0"/>
              <a:t>3</a:t>
            </a:fld>
            <a:endParaRPr lang="en-US"/>
          </a:p>
        </p:txBody>
      </p:sp>
    </p:spTree>
    <p:extLst>
      <p:ext uri="{BB962C8B-B14F-4D97-AF65-F5344CB8AC3E}">
        <p14:creationId xmlns:p14="http://schemas.microsoft.com/office/powerpoint/2010/main" val="39625346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1E51E-7D8D-50BE-2BAA-19F52AFF7A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D1A65B-FE42-E056-4333-B0B33C0A80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F2511C-B4DF-1A3F-CBE5-C1323EB51BAF}"/>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BFDDC4F8-8373-D725-EA4E-DFA8CE59900E}"/>
              </a:ext>
            </a:extLst>
          </p:cNvPr>
          <p:cNvSpPr>
            <a:spLocks noGrp="1"/>
          </p:cNvSpPr>
          <p:nvPr>
            <p:ph type="sldNum" sz="quarter" idx="5"/>
          </p:nvPr>
        </p:nvSpPr>
        <p:spPr/>
        <p:txBody>
          <a:bodyPr/>
          <a:lstStyle/>
          <a:p>
            <a:fld id="{8ECE837E-594B-4F0F-92F5-F20D4296AC5C}" type="slidenum">
              <a:rPr lang="en-ID" smtClean="0"/>
              <a:t>30</a:t>
            </a:fld>
            <a:endParaRPr lang="en-ID"/>
          </a:p>
        </p:txBody>
      </p:sp>
    </p:spTree>
    <p:extLst>
      <p:ext uri="{BB962C8B-B14F-4D97-AF65-F5344CB8AC3E}">
        <p14:creationId xmlns:p14="http://schemas.microsoft.com/office/powerpoint/2010/main" val="149145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56C2F-E200-D4C7-955B-9796FB949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F27DB4-37FC-9462-916E-093EAE4114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BBEA13-3C14-678C-7D64-50558D15C14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7015DE17-E2A2-6AC2-A4C0-65B8C8ABEB23}"/>
              </a:ext>
            </a:extLst>
          </p:cNvPr>
          <p:cNvSpPr>
            <a:spLocks noGrp="1"/>
          </p:cNvSpPr>
          <p:nvPr>
            <p:ph type="sldNum" sz="quarter" idx="5"/>
          </p:nvPr>
        </p:nvSpPr>
        <p:spPr/>
        <p:txBody>
          <a:bodyPr/>
          <a:lstStyle/>
          <a:p>
            <a:fld id="{8ECE837E-594B-4F0F-92F5-F20D4296AC5C}" type="slidenum">
              <a:rPr lang="en-ID" smtClean="0"/>
              <a:t>31</a:t>
            </a:fld>
            <a:endParaRPr lang="en-ID"/>
          </a:p>
        </p:txBody>
      </p:sp>
    </p:spTree>
    <p:extLst>
      <p:ext uri="{BB962C8B-B14F-4D97-AF65-F5344CB8AC3E}">
        <p14:creationId xmlns:p14="http://schemas.microsoft.com/office/powerpoint/2010/main" val="113598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5758D-CF09-6C01-5799-C1DDC6D5CC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EDAEED-0D00-A28D-0FA4-F79BC23E7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D3A60B-8609-E617-C2A9-A5EC5F69B29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BE1E0884-4E21-FEA6-4A89-299E3380CCB9}"/>
              </a:ext>
            </a:extLst>
          </p:cNvPr>
          <p:cNvSpPr>
            <a:spLocks noGrp="1"/>
          </p:cNvSpPr>
          <p:nvPr>
            <p:ph type="sldNum" sz="quarter" idx="5"/>
          </p:nvPr>
        </p:nvSpPr>
        <p:spPr/>
        <p:txBody>
          <a:bodyPr/>
          <a:lstStyle/>
          <a:p>
            <a:fld id="{8ECE837E-594B-4F0F-92F5-F20D4296AC5C}" type="slidenum">
              <a:rPr lang="en-ID" smtClean="0"/>
              <a:t>32</a:t>
            </a:fld>
            <a:endParaRPr lang="en-ID"/>
          </a:p>
        </p:txBody>
      </p:sp>
    </p:spTree>
    <p:extLst>
      <p:ext uri="{BB962C8B-B14F-4D97-AF65-F5344CB8AC3E}">
        <p14:creationId xmlns:p14="http://schemas.microsoft.com/office/powerpoint/2010/main" val="2799351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1603A-1B00-1701-B33D-D14C69B9E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0866AE-6C35-A2BF-38E7-4BE3E32FF0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605C8D-EE1A-772B-F25A-1F21CAFF738B}"/>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D1447FDD-8EC5-EE36-BDDD-0CF0BE1298FC}"/>
              </a:ext>
            </a:extLst>
          </p:cNvPr>
          <p:cNvSpPr>
            <a:spLocks noGrp="1"/>
          </p:cNvSpPr>
          <p:nvPr>
            <p:ph type="sldNum" sz="quarter" idx="5"/>
          </p:nvPr>
        </p:nvSpPr>
        <p:spPr/>
        <p:txBody>
          <a:bodyPr/>
          <a:lstStyle/>
          <a:p>
            <a:fld id="{8ECE837E-594B-4F0F-92F5-F20D4296AC5C}" type="slidenum">
              <a:rPr lang="en-ID" smtClean="0"/>
              <a:t>33</a:t>
            </a:fld>
            <a:endParaRPr lang="en-ID"/>
          </a:p>
        </p:txBody>
      </p:sp>
    </p:spTree>
    <p:extLst>
      <p:ext uri="{BB962C8B-B14F-4D97-AF65-F5344CB8AC3E}">
        <p14:creationId xmlns:p14="http://schemas.microsoft.com/office/powerpoint/2010/main" val="296386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513FF-A8B1-DAA5-C655-65D678702F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3BFD30-2EC1-CF77-0F54-49D724B9C1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329B1B-690B-C35F-522F-1CB0D10DC81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53F9A15A-F2A8-0ABC-67FD-C467053B9B4B}"/>
              </a:ext>
            </a:extLst>
          </p:cNvPr>
          <p:cNvSpPr>
            <a:spLocks noGrp="1"/>
          </p:cNvSpPr>
          <p:nvPr>
            <p:ph type="sldNum" sz="quarter" idx="5"/>
          </p:nvPr>
        </p:nvSpPr>
        <p:spPr/>
        <p:txBody>
          <a:bodyPr/>
          <a:lstStyle/>
          <a:p>
            <a:fld id="{8ECE837E-594B-4F0F-92F5-F20D4296AC5C}" type="slidenum">
              <a:rPr lang="en-ID" smtClean="0"/>
              <a:t>34</a:t>
            </a:fld>
            <a:endParaRPr lang="en-ID"/>
          </a:p>
        </p:txBody>
      </p:sp>
    </p:spTree>
    <p:extLst>
      <p:ext uri="{BB962C8B-B14F-4D97-AF65-F5344CB8AC3E}">
        <p14:creationId xmlns:p14="http://schemas.microsoft.com/office/powerpoint/2010/main" val="30292543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E0A62-FDFA-4BF6-4A0A-704E674907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B5BDC2-C4F9-68C8-8C28-8E90B89E02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D24A64-52DE-5F4A-DF71-B5055EEE6572}"/>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B3355832-45F3-8D02-0B6C-18CAB3970C7B}"/>
              </a:ext>
            </a:extLst>
          </p:cNvPr>
          <p:cNvSpPr>
            <a:spLocks noGrp="1"/>
          </p:cNvSpPr>
          <p:nvPr>
            <p:ph type="sldNum" sz="quarter" idx="5"/>
          </p:nvPr>
        </p:nvSpPr>
        <p:spPr/>
        <p:txBody>
          <a:bodyPr/>
          <a:lstStyle/>
          <a:p>
            <a:fld id="{8ECE837E-594B-4F0F-92F5-F20D4296AC5C}" type="slidenum">
              <a:rPr lang="en-ID" smtClean="0"/>
              <a:t>35</a:t>
            </a:fld>
            <a:endParaRPr lang="en-ID"/>
          </a:p>
        </p:txBody>
      </p:sp>
    </p:spTree>
    <p:extLst>
      <p:ext uri="{BB962C8B-B14F-4D97-AF65-F5344CB8AC3E}">
        <p14:creationId xmlns:p14="http://schemas.microsoft.com/office/powerpoint/2010/main" val="39884747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36</a:t>
            </a:fld>
            <a:endParaRPr lang="en-ID"/>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37</a:t>
            </a:fld>
            <a:endParaRPr lang="en-ID"/>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A6909-C482-63D4-9C46-0609EFA463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1F00E4-BAB9-E6A3-7ACE-0F2C0B16F2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3E723F-14D1-42C3-E1C6-9AF90BCC9050}"/>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543F13C1-92D9-C9F7-4AF1-2467A2A6D07E}"/>
              </a:ext>
            </a:extLst>
          </p:cNvPr>
          <p:cNvSpPr>
            <a:spLocks noGrp="1"/>
          </p:cNvSpPr>
          <p:nvPr>
            <p:ph type="sldNum" sz="quarter" idx="5"/>
          </p:nvPr>
        </p:nvSpPr>
        <p:spPr/>
        <p:txBody>
          <a:bodyPr/>
          <a:lstStyle/>
          <a:p>
            <a:fld id="{8ECE837E-594B-4F0F-92F5-F20D4296AC5C}" type="slidenum">
              <a:rPr lang="en-ID" smtClean="0"/>
              <a:t>38</a:t>
            </a:fld>
            <a:endParaRPr lang="en-ID"/>
          </a:p>
        </p:txBody>
      </p:sp>
    </p:spTree>
    <p:extLst>
      <p:ext uri="{BB962C8B-B14F-4D97-AF65-F5344CB8AC3E}">
        <p14:creationId xmlns:p14="http://schemas.microsoft.com/office/powerpoint/2010/main" val="33520927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A0FB4-8638-8374-1555-3E47A6B51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3EBA59-6D83-A24B-6EEE-06F4FD0458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681C52-D4E0-ECF8-EAB2-0DDCE498B5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AFBFB218-2E3A-ADB6-4F64-1A0145DF9074}"/>
              </a:ext>
            </a:extLst>
          </p:cNvPr>
          <p:cNvSpPr>
            <a:spLocks noGrp="1"/>
          </p:cNvSpPr>
          <p:nvPr>
            <p:ph type="sldNum" sz="quarter" idx="5"/>
          </p:nvPr>
        </p:nvSpPr>
        <p:spPr/>
        <p:txBody>
          <a:bodyPr/>
          <a:lstStyle/>
          <a:p>
            <a:fld id="{8ECE837E-594B-4F0F-92F5-F20D4296AC5C}" type="slidenum">
              <a:rPr lang="en-ID" smtClean="0"/>
              <a:t>39</a:t>
            </a:fld>
            <a:endParaRPr lang="en-ID"/>
          </a:p>
        </p:txBody>
      </p:sp>
    </p:spTree>
    <p:extLst>
      <p:ext uri="{BB962C8B-B14F-4D97-AF65-F5344CB8AC3E}">
        <p14:creationId xmlns:p14="http://schemas.microsoft.com/office/powerpoint/2010/main" val="2768989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A4AC0-DFBD-2D49-1B03-6B9EA1C59C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8DB08-9700-9EB4-26CE-AC96CE3A4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CF8F02-0521-458A-C9A6-399B6C72C46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0" i="0" kern="1200" dirty="0">
                <a:solidFill>
                  <a:schemeClr val="tx1"/>
                </a:solidFill>
                <a:effectLst/>
                <a:latin typeface="+mn-lt"/>
                <a:ea typeface="+mn-ea"/>
                <a:cs typeface="+mn-cs"/>
                <a:hlinkClick r:id="rId3"/>
              </a:rPr>
              <a:t>Sean Pollock</a:t>
            </a:r>
            <a:r>
              <a:rPr lang="en-US" sz="1200" b="0" i="0" kern="1200" dirty="0">
                <a:solidFill>
                  <a:schemeClr val="tx1"/>
                </a:solidFill>
                <a:effectLst/>
                <a:latin typeface="+mn-lt"/>
                <a:ea typeface="+mn-ea"/>
                <a:cs typeface="+mn-cs"/>
              </a:rPr>
              <a:t> on </a:t>
            </a:r>
            <a:r>
              <a:rPr lang="en-US" sz="1200" b="0" i="0"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254996C2-05B8-C75A-461F-EED6A9F01AB1}"/>
              </a:ext>
            </a:extLst>
          </p:cNvPr>
          <p:cNvSpPr>
            <a:spLocks noGrp="1"/>
          </p:cNvSpPr>
          <p:nvPr>
            <p:ph type="sldNum" sz="quarter" idx="5"/>
          </p:nvPr>
        </p:nvSpPr>
        <p:spPr/>
        <p:txBody>
          <a:bodyPr/>
          <a:lstStyle/>
          <a:p>
            <a:fld id="{14BE8BA1-7CE3-425B-ABEE-5C320703B71B}" type="slidenum">
              <a:rPr lang="en-US" smtClean="0"/>
              <a:t>4</a:t>
            </a:fld>
            <a:endParaRPr lang="en-US"/>
          </a:p>
        </p:txBody>
      </p:sp>
    </p:spTree>
    <p:extLst>
      <p:ext uri="{BB962C8B-B14F-4D97-AF65-F5344CB8AC3E}">
        <p14:creationId xmlns:p14="http://schemas.microsoft.com/office/powerpoint/2010/main" val="1342135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38429-EA90-D43B-83CD-3B0718E421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55B6D3-5438-B3F1-CF43-7144B2CCC4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E21F46-1777-AD40-ABD4-6BAB2255F4F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F75447B7-721A-26DF-0466-9C61EE2F2201}"/>
              </a:ext>
            </a:extLst>
          </p:cNvPr>
          <p:cNvSpPr>
            <a:spLocks noGrp="1"/>
          </p:cNvSpPr>
          <p:nvPr>
            <p:ph type="sldNum" sz="quarter" idx="5"/>
          </p:nvPr>
        </p:nvSpPr>
        <p:spPr/>
        <p:txBody>
          <a:bodyPr/>
          <a:lstStyle/>
          <a:p>
            <a:fld id="{8ECE837E-594B-4F0F-92F5-F20D4296AC5C}" type="slidenum">
              <a:rPr lang="en-ID" smtClean="0"/>
              <a:t>41</a:t>
            </a:fld>
            <a:endParaRPr lang="en-ID"/>
          </a:p>
        </p:txBody>
      </p:sp>
    </p:spTree>
    <p:extLst>
      <p:ext uri="{BB962C8B-B14F-4D97-AF65-F5344CB8AC3E}">
        <p14:creationId xmlns:p14="http://schemas.microsoft.com/office/powerpoint/2010/main" val="2900026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37511-F62C-4091-0782-3DA081D366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23048E-7A28-756D-C9E6-A82BC5D7E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37E9F8-EAFD-26F1-048A-8B393D0AE04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0" i="0" kern="1200" dirty="0">
                <a:solidFill>
                  <a:schemeClr val="tx1"/>
                </a:solidFill>
                <a:effectLst/>
                <a:latin typeface="+mn-lt"/>
                <a:ea typeface="+mn-ea"/>
                <a:cs typeface="+mn-cs"/>
                <a:hlinkClick r:id="rId3"/>
              </a:rPr>
              <a:t>Sean Pollock</a:t>
            </a:r>
            <a:r>
              <a:rPr lang="en-US" sz="1200" b="0" i="0" kern="1200" dirty="0">
                <a:solidFill>
                  <a:schemeClr val="tx1"/>
                </a:solidFill>
                <a:effectLst/>
                <a:latin typeface="+mn-lt"/>
                <a:ea typeface="+mn-ea"/>
                <a:cs typeface="+mn-cs"/>
              </a:rPr>
              <a:t> on </a:t>
            </a:r>
            <a:r>
              <a:rPr lang="en-US" sz="1200" b="0" i="0"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DB4D17D7-27E6-1726-095A-E761EBEF4D46}"/>
              </a:ext>
            </a:extLst>
          </p:cNvPr>
          <p:cNvSpPr>
            <a:spLocks noGrp="1"/>
          </p:cNvSpPr>
          <p:nvPr>
            <p:ph type="sldNum" sz="quarter" idx="5"/>
          </p:nvPr>
        </p:nvSpPr>
        <p:spPr/>
        <p:txBody>
          <a:bodyPr/>
          <a:lstStyle/>
          <a:p>
            <a:fld id="{14BE8BA1-7CE3-425B-ABEE-5C320703B71B}" type="slidenum">
              <a:rPr lang="en-US" smtClean="0"/>
              <a:t>5</a:t>
            </a:fld>
            <a:endParaRPr lang="en-US"/>
          </a:p>
        </p:txBody>
      </p:sp>
    </p:spTree>
    <p:extLst>
      <p:ext uri="{BB962C8B-B14F-4D97-AF65-F5344CB8AC3E}">
        <p14:creationId xmlns:p14="http://schemas.microsoft.com/office/powerpoint/2010/main" val="500698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905678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2437015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5E798-578E-7C43-3FDE-CD005143A5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937CB-0434-458F-7698-DEF759CB31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02287-18A3-1F54-5747-47CFD9E0E61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a:extLst>
              <a:ext uri="{FF2B5EF4-FFF2-40B4-BE49-F238E27FC236}">
                <a16:creationId xmlns:a16="http://schemas.microsoft.com/office/drawing/2014/main" id="{1DE35007-7046-0310-B948-47B878F6A532}"/>
              </a:ext>
            </a:extLst>
          </p:cNvPr>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1022768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EA75BD-E928-5D98-6787-B5D757CC02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73BC5-2459-829D-0894-972567CABA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93D29C-CDD6-4A1C-35E4-464004941380}"/>
              </a:ext>
            </a:extLst>
          </p:cNvPr>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a:extLst>
              <a:ext uri="{FF2B5EF4-FFF2-40B4-BE49-F238E27FC236}">
                <a16:creationId xmlns:a16="http://schemas.microsoft.com/office/drawing/2014/main" id="{35ACD8B6-3F6D-1199-04C3-C59E393045F3}"/>
              </a:ext>
            </a:extLst>
          </p:cNvPr>
          <p:cNvSpPr>
            <a:spLocks noGrp="1"/>
          </p:cNvSpPr>
          <p:nvPr>
            <p:ph type="sldNum" sz="quarter" idx="5"/>
          </p:nvPr>
        </p:nvSpPr>
        <p:spPr/>
        <p:txBody>
          <a:bodyPr/>
          <a:lstStyle/>
          <a:p>
            <a:fld id="{8ECE837E-594B-4F0F-92F5-F20D4296AC5C}" type="slidenum">
              <a:rPr lang="en-ID" smtClean="0"/>
              <a:t>9</a:t>
            </a:fld>
            <a:endParaRPr lang="en-ID"/>
          </a:p>
        </p:txBody>
      </p:sp>
    </p:spTree>
    <p:extLst>
      <p:ext uri="{BB962C8B-B14F-4D97-AF65-F5344CB8AC3E}">
        <p14:creationId xmlns:p14="http://schemas.microsoft.com/office/powerpoint/2010/main" val="4192140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D4F50A-5055-49DA-BB8F-2562F5049A44}"/>
              </a:ext>
            </a:extLst>
          </p:cNvPr>
          <p:cNvGraphicFramePr>
            <a:graphicFrameLocks noChangeAspect="1"/>
          </p:cNvGraphicFramePr>
          <p:nvPr userDrawn="1">
            <p:custDataLst>
              <p:tags r:id="rId1"/>
            </p:custDataLst>
            <p:extLst>
              <p:ext uri="{D42A27DB-BD31-4B8C-83A1-F6EECF244321}">
                <p14:modId xmlns:p14="http://schemas.microsoft.com/office/powerpoint/2010/main" val="42701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76D4F50A-5055-49DA-BB8F-2562F5049A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967E64-14E7-49F0-BB62-7D7FC2D611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D9FE51-1EF0-4EE1-BFA5-121486003670}"/>
              </a:ext>
            </a:extLst>
          </p:cNvPr>
          <p:cNvGraphicFramePr>
            <a:graphicFrameLocks noChangeAspect="1"/>
          </p:cNvGraphicFramePr>
          <p:nvPr userDrawn="1">
            <p:custDataLst>
              <p:tags r:id="rId1"/>
            </p:custDataLst>
            <p:extLst>
              <p:ext uri="{D42A27DB-BD31-4B8C-83A1-F6EECF244321}">
                <p14:modId xmlns:p14="http://schemas.microsoft.com/office/powerpoint/2010/main" val="1143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08D9FE51-1EF0-4EE1-BFA5-1214860036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A80063-B2A1-44A4-9477-86F03686A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a16="http://schemas.microsoft.com/office/drawing/2014/main" id="{A3427E83-516A-4461-8E80-E9AA6352991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6C5D77DB-23A3-4ADD-BEE5-8E632CF9FCCC}"/>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77510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1AAA21-F482-412E-A625-049E0606D673}"/>
              </a:ext>
            </a:extLst>
          </p:cNvPr>
          <p:cNvGraphicFramePr>
            <a:graphicFrameLocks noChangeAspect="1"/>
          </p:cNvGraphicFramePr>
          <p:nvPr userDrawn="1">
            <p:custDataLst>
              <p:tags r:id="rId1"/>
            </p:custDataLst>
            <p:extLst>
              <p:ext uri="{D42A27DB-BD31-4B8C-83A1-F6EECF244321}">
                <p14:modId xmlns:p14="http://schemas.microsoft.com/office/powerpoint/2010/main" val="426047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A01AAA21-F482-412E-A625-049E0606D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1AF5EF-56D3-45E3-AFBB-0E2A5080DB3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TextBox 5">
            <a:extLst>
              <a:ext uri="{FF2B5EF4-FFF2-40B4-BE49-F238E27FC236}">
                <a16:creationId xmlns:a16="http://schemas.microsoft.com/office/drawing/2014/main" id="{ED108A02-98E2-4FE5-AAB5-1400BBFC8A6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FBB9C5FE-0FFA-468C-9824-40FB6DD999A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83368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1B1A9E-F8FD-4983-8B3D-23700D97010C}"/>
              </a:ext>
            </a:extLst>
          </p:cNvPr>
          <p:cNvGraphicFramePr>
            <a:graphicFrameLocks noChangeAspect="1"/>
          </p:cNvGraphicFramePr>
          <p:nvPr userDrawn="1">
            <p:custDataLst>
              <p:tags r:id="rId1"/>
            </p:custDataLst>
            <p:extLst>
              <p:ext uri="{D42A27DB-BD31-4B8C-83A1-F6EECF244321}">
                <p14:modId xmlns:p14="http://schemas.microsoft.com/office/powerpoint/2010/main" val="3489227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541B1A9E-F8FD-4983-8B3D-23700D970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71763D3-5CD9-4A81-8364-B592C5D0AC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TextBox 8">
            <a:extLst>
              <a:ext uri="{FF2B5EF4-FFF2-40B4-BE49-F238E27FC236}">
                <a16:creationId xmlns:a16="http://schemas.microsoft.com/office/drawing/2014/main" id="{EAF74A31-AA1D-418D-B416-1F4772B5A2B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CA53B6F7-5CF8-4631-BF78-0D404A1C35A8}"/>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94759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A2E39D5-4E7C-4DE1-946F-BFBD70BE04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4F91887-30F2-48D4-A483-91E74FE5BC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6FF4D3-FAD5-4218-9E7C-57C766B3D18B}"/>
              </a:ext>
            </a:extLst>
          </p:cNvPr>
          <p:cNvSpPr>
            <a:spLocks noGrp="1"/>
          </p:cNvSpPr>
          <p:nvPr>
            <p:ph type="sldNum" sz="quarter" idx="12"/>
          </p:nvPr>
        </p:nvSpPr>
        <p:spPr>
          <a:xfrm>
            <a:off x="11169353" y="6282531"/>
            <a:ext cx="645919" cy="365125"/>
          </a:xfrm>
        </p:spPr>
        <p:txBody>
          <a:bodyPr/>
          <a:lstStyle>
            <a:lvl1pPr>
              <a:defRPr sz="2000" b="1">
                <a:solidFill>
                  <a:schemeClr val="tx1"/>
                </a:solidFill>
              </a:defRPr>
            </a:lvl1pPr>
          </a:lstStyle>
          <a:p>
            <a:fld id="{2745C2C1-43AE-4748-AE73-76A74359E3A8}" type="slidenum">
              <a:rPr lang="en-US" smtClean="0"/>
              <a:pPr/>
              <a:t>‹#›</a:t>
            </a:fld>
            <a:endParaRPr lang="en-US"/>
          </a:p>
        </p:txBody>
      </p:sp>
      <p:cxnSp>
        <p:nvCxnSpPr>
          <p:cNvPr id="8" name="Straight Connector 7">
            <a:extLst>
              <a:ext uri="{FF2B5EF4-FFF2-40B4-BE49-F238E27FC236}">
                <a16:creationId xmlns:a16="http://schemas.microsoft.com/office/drawing/2014/main" id="{A7D8D7DC-BCAC-4AAC-B351-785AC609DD3C}"/>
              </a:ext>
            </a:extLst>
          </p:cNvPr>
          <p:cNvCxnSpPr>
            <a:cxnSpLocks/>
          </p:cNvCxnSpPr>
          <p:nvPr userDrawn="1"/>
        </p:nvCxnSpPr>
        <p:spPr>
          <a:xfrm>
            <a:off x="11870041" y="6379926"/>
            <a:ext cx="0" cy="17033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5445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0F769C9C-3ADE-2A47-BB20-BDB295779BDF}"/>
              </a:ext>
            </a:extLst>
          </p:cNvPr>
          <p:cNvSpPr/>
          <p:nvPr userDrawn="1"/>
        </p:nvSpPr>
        <p:spPr>
          <a:xfrm>
            <a:off x="0" y="1"/>
            <a:ext cx="12192000" cy="5560378"/>
          </a:xfrm>
          <a:custGeom>
            <a:avLst/>
            <a:gdLst/>
            <a:ahLst/>
            <a:cxnLst>
              <a:cxn ang="0">
                <a:pos x="wd2" y="hd2"/>
              </a:cxn>
              <a:cxn ang="5400000">
                <a:pos x="wd2" y="hd2"/>
              </a:cxn>
              <a:cxn ang="10800000">
                <a:pos x="wd2" y="hd2"/>
              </a:cxn>
              <a:cxn ang="16200000">
                <a:pos x="wd2" y="hd2"/>
              </a:cxn>
            </a:cxnLst>
            <a:rect l="0" t="0" r="r" b="b"/>
            <a:pathLst>
              <a:path w="21600" h="21396" extrusionOk="0">
                <a:moveTo>
                  <a:pt x="8776" y="20784"/>
                </a:moveTo>
                <a:lnTo>
                  <a:pt x="12511" y="14724"/>
                </a:lnTo>
                <a:cubicBezTo>
                  <a:pt x="13014" y="13908"/>
                  <a:pt x="13828" y="13908"/>
                  <a:pt x="14331" y="14724"/>
                </a:cubicBezTo>
                <a:lnTo>
                  <a:pt x="18066" y="20784"/>
                </a:lnTo>
                <a:cubicBezTo>
                  <a:pt x="18569" y="21600"/>
                  <a:pt x="19383" y="21600"/>
                  <a:pt x="19886" y="20784"/>
                </a:cubicBezTo>
                <a:lnTo>
                  <a:pt x="21600" y="18003"/>
                </a:lnTo>
                <a:lnTo>
                  <a:pt x="21600" y="0"/>
                </a:lnTo>
                <a:lnTo>
                  <a:pt x="15551" y="0"/>
                </a:lnTo>
                <a:lnTo>
                  <a:pt x="11285" y="0"/>
                </a:lnTo>
                <a:lnTo>
                  <a:pt x="4447" y="0"/>
                </a:lnTo>
                <a:lnTo>
                  <a:pt x="0" y="0"/>
                </a:lnTo>
                <a:lnTo>
                  <a:pt x="0" y="459"/>
                </a:lnTo>
                <a:lnTo>
                  <a:pt x="0" y="9500"/>
                </a:lnTo>
                <a:lnTo>
                  <a:pt x="6956" y="20784"/>
                </a:lnTo>
                <a:cubicBezTo>
                  <a:pt x="7459" y="21595"/>
                  <a:pt x="8272" y="21595"/>
                  <a:pt x="8776" y="20784"/>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11" name="Shape">
            <a:extLst>
              <a:ext uri="{FF2B5EF4-FFF2-40B4-BE49-F238E27FC236}">
                <a16:creationId xmlns:a16="http://schemas.microsoft.com/office/drawing/2014/main" id="{B8AF99FC-7339-164B-BE73-251389C5176F}"/>
              </a:ext>
            </a:extLst>
          </p:cNvPr>
          <p:cNvSpPr/>
          <p:nvPr userDrawn="1"/>
        </p:nvSpPr>
        <p:spPr>
          <a:xfrm>
            <a:off x="7534909" y="1"/>
            <a:ext cx="4657092" cy="3254055"/>
          </a:xfrm>
          <a:custGeom>
            <a:avLst/>
            <a:gdLst/>
            <a:ahLst/>
            <a:cxnLst>
              <a:cxn ang="0">
                <a:pos x="wd2" y="hd2"/>
              </a:cxn>
              <a:cxn ang="5400000">
                <a:pos x="wd2" y="hd2"/>
              </a:cxn>
              <a:cxn ang="10800000">
                <a:pos x="wd2" y="hd2"/>
              </a:cxn>
              <a:cxn ang="16200000">
                <a:pos x="wd2" y="hd2"/>
              </a:cxn>
            </a:cxnLst>
            <a:rect l="0" t="0" r="r" b="b"/>
            <a:pathLst>
              <a:path w="21369" h="21352" extrusionOk="0">
                <a:moveTo>
                  <a:pt x="694" y="3850"/>
                </a:moveTo>
                <a:cubicBezTo>
                  <a:pt x="-231" y="4842"/>
                  <a:pt x="-231" y="6450"/>
                  <a:pt x="694" y="7442"/>
                </a:cubicBezTo>
                <a:lnTo>
                  <a:pt x="12970" y="20608"/>
                </a:lnTo>
                <a:cubicBezTo>
                  <a:pt x="13894" y="21600"/>
                  <a:pt x="15394" y="21600"/>
                  <a:pt x="16319" y="20608"/>
                </a:cubicBezTo>
                <a:lnTo>
                  <a:pt x="21369" y="15192"/>
                </a:lnTo>
                <a:lnTo>
                  <a:pt x="21369" y="0"/>
                </a:lnTo>
                <a:lnTo>
                  <a:pt x="4283" y="0"/>
                </a:lnTo>
                <a:lnTo>
                  <a:pt x="694" y="3850"/>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18" name="Title 1">
            <a:extLst>
              <a:ext uri="{FF2B5EF4-FFF2-40B4-BE49-F238E27FC236}">
                <a16:creationId xmlns:a16="http://schemas.microsoft.com/office/drawing/2014/main" id="{938FEC7A-5B18-4B66-9EF5-0FC67C8D6310}"/>
              </a:ext>
            </a:extLst>
          </p:cNvPr>
          <p:cNvSpPr>
            <a:spLocks noGrp="1"/>
          </p:cNvSpPr>
          <p:nvPr>
            <p:ph type="ctrTitle"/>
          </p:nvPr>
        </p:nvSpPr>
        <p:spPr>
          <a:xfrm>
            <a:off x="1271081" y="493390"/>
            <a:ext cx="5902384" cy="2387600"/>
          </a:xfrm>
          <a:prstGeom prst="rect">
            <a:avLst/>
          </a:prstGeom>
        </p:spPr>
        <p:txBody>
          <a:bodyPr anchor="b"/>
          <a:lstStyle>
            <a:lvl1pPr algn="ctr">
              <a:defRPr sz="6000">
                <a:solidFill>
                  <a:schemeClr val="bg1"/>
                </a:solidFill>
              </a:defRPr>
            </a:lvl1pPr>
          </a:lstStyle>
          <a:p>
            <a:r>
              <a:rPr lang="en-US"/>
              <a:t>Click to edit Master title style</a:t>
            </a:r>
            <a:endParaRPr lang="en-US" dirty="0"/>
          </a:p>
        </p:txBody>
      </p:sp>
      <p:sp>
        <p:nvSpPr>
          <p:cNvPr id="20" name="Subtitle 2">
            <a:extLst>
              <a:ext uri="{FF2B5EF4-FFF2-40B4-BE49-F238E27FC236}">
                <a16:creationId xmlns:a16="http://schemas.microsoft.com/office/drawing/2014/main" id="{B29E4FEF-DBF0-48D1-B1B7-AC8CEFB7F10D}"/>
              </a:ext>
            </a:extLst>
          </p:cNvPr>
          <p:cNvSpPr>
            <a:spLocks noGrp="1"/>
          </p:cNvSpPr>
          <p:nvPr>
            <p:ph type="subTitle" idx="1"/>
          </p:nvPr>
        </p:nvSpPr>
        <p:spPr>
          <a:xfrm>
            <a:off x="2088205" y="2973065"/>
            <a:ext cx="4319081" cy="1655762"/>
          </a:xfrm>
          <a:prstGeom prst="rect">
            <a:avLst/>
          </a:prstGeom>
        </p:spPr>
        <p:txBody>
          <a:bodyPr/>
          <a:lstStyle>
            <a:lvl1pPr marL="0" indent="0" algn="ctr">
              <a:buNone/>
              <a:defRPr sz="2400">
                <a:solidFill>
                  <a:schemeClr val="bg2">
                    <a:lumMod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Date Placeholder 3">
            <a:extLst>
              <a:ext uri="{FF2B5EF4-FFF2-40B4-BE49-F238E27FC236}">
                <a16:creationId xmlns:a16="http://schemas.microsoft.com/office/drawing/2014/main" id="{9CD37997-F225-43D0-99F3-38A3F545A6B8}"/>
              </a:ext>
            </a:extLst>
          </p:cNvPr>
          <p:cNvSpPr>
            <a:spLocks noGrp="1"/>
          </p:cNvSpPr>
          <p:nvPr>
            <p:ph type="dt" sz="half" idx="10"/>
          </p:nvPr>
        </p:nvSpPr>
        <p:spPr>
          <a:xfrm>
            <a:off x="838200" y="6356351"/>
            <a:ext cx="2743200" cy="365125"/>
          </a:xfrm>
          <a:prstGeom prst="rect">
            <a:avLst/>
          </a:prstGeom>
        </p:spPr>
        <p:txBody>
          <a:bodyPr/>
          <a:lstStyle/>
          <a:p>
            <a:r>
              <a:rPr lang="en-US"/>
              <a:t>Date</a:t>
            </a:r>
          </a:p>
        </p:txBody>
      </p:sp>
      <p:sp>
        <p:nvSpPr>
          <p:cNvPr id="23" name="Footer Placeholder 4">
            <a:extLst>
              <a:ext uri="{FF2B5EF4-FFF2-40B4-BE49-F238E27FC236}">
                <a16:creationId xmlns:a16="http://schemas.microsoft.com/office/drawing/2014/main" id="{3591AFD2-6F19-4349-B6C5-EA75918EBA6F}"/>
              </a:ext>
            </a:extLst>
          </p:cNvPr>
          <p:cNvSpPr>
            <a:spLocks noGrp="1"/>
          </p:cNvSpPr>
          <p:nvPr>
            <p:ph type="ftr" sz="quarter" idx="11"/>
          </p:nvPr>
        </p:nvSpPr>
        <p:spPr>
          <a:xfrm>
            <a:off x="4038600" y="6356351"/>
            <a:ext cx="4114800" cy="365125"/>
          </a:xfrm>
          <a:prstGeom prst="rect">
            <a:avLst/>
          </a:prstGeom>
        </p:spPr>
        <p:txBody>
          <a:bodyPr/>
          <a:lstStyle/>
          <a:p>
            <a:r>
              <a:rPr lang="en-US"/>
              <a:t>Your Footer Here</a:t>
            </a:r>
          </a:p>
        </p:txBody>
      </p:sp>
      <p:sp>
        <p:nvSpPr>
          <p:cNvPr id="24" name="Slide Number Placeholder 5">
            <a:extLst>
              <a:ext uri="{FF2B5EF4-FFF2-40B4-BE49-F238E27FC236}">
                <a16:creationId xmlns:a16="http://schemas.microsoft.com/office/drawing/2014/main" id="{47EB3B26-5365-416B-8AE3-419320AA0831}"/>
              </a:ext>
            </a:extLst>
          </p:cNvPr>
          <p:cNvSpPr>
            <a:spLocks noGrp="1"/>
          </p:cNvSpPr>
          <p:nvPr>
            <p:ph type="sldNum" sz="quarter" idx="12"/>
          </p:nvPr>
        </p:nvSpPr>
        <p:spPr>
          <a:xfrm>
            <a:off x="8610600" y="6356351"/>
            <a:ext cx="2743200" cy="365125"/>
          </a:xfrm>
          <a:prstGeom prst="rect">
            <a:avLst/>
          </a:prstGeom>
        </p:spPr>
        <p:txBody>
          <a:bodyPr/>
          <a:lstStyle/>
          <a:p>
            <a:fld id="{E1D938BB-204F-405F-99D0-29E0C28153FC}" type="slidenum">
              <a:rPr lang="en-US" smtClean="0"/>
              <a:t>‹#›</a:t>
            </a:fld>
            <a:endParaRPr lang="en-US"/>
          </a:p>
        </p:txBody>
      </p:sp>
      <p:sp>
        <p:nvSpPr>
          <p:cNvPr id="15" name="Freeform 14">
            <a:extLst>
              <a:ext uri="{FF2B5EF4-FFF2-40B4-BE49-F238E27FC236}">
                <a16:creationId xmlns:a16="http://schemas.microsoft.com/office/drawing/2014/main" id="{2C245315-3B22-AD4E-9072-CAF2E978362F}"/>
              </a:ext>
            </a:extLst>
          </p:cNvPr>
          <p:cNvSpPr>
            <a:spLocks noGrp="1"/>
          </p:cNvSpPr>
          <p:nvPr>
            <p:ph type="pic" sz="quarter" idx="13"/>
          </p:nvPr>
        </p:nvSpPr>
        <p:spPr>
          <a:xfrm>
            <a:off x="7534963" y="596844"/>
            <a:ext cx="4657037" cy="4787378"/>
          </a:xfrm>
          <a:custGeom>
            <a:avLst/>
            <a:gdLst>
              <a:gd name="connsiteX0" fmla="*/ 2393580 w 3492778"/>
              <a:gd name="connsiteY0" fmla="*/ 0 h 4787378"/>
              <a:gd name="connsiteX1" fmla="*/ 2667342 w 3492778"/>
              <a:gd name="connsiteY1" fmla="*/ 113299 h 4787378"/>
              <a:gd name="connsiteX2" fmla="*/ 3492778 w 3492778"/>
              <a:gd name="connsiteY2" fmla="*/ 938868 h 4787378"/>
              <a:gd name="connsiteX3" fmla="*/ 3492778 w 3492778"/>
              <a:gd name="connsiteY3" fmla="*/ 3848510 h 4787378"/>
              <a:gd name="connsiteX4" fmla="*/ 2667342 w 3492778"/>
              <a:gd name="connsiteY4" fmla="*/ 4674079 h 4787378"/>
              <a:gd name="connsiteX5" fmla="*/ 2119940 w 3492778"/>
              <a:gd name="connsiteY5" fmla="*/ 4674079 h 4787378"/>
              <a:gd name="connsiteX6" fmla="*/ 113395 w 3492778"/>
              <a:gd name="connsiteY6" fmla="*/ 2667453 h 4787378"/>
              <a:gd name="connsiteX7" fmla="*/ 113395 w 3492778"/>
              <a:gd name="connsiteY7" fmla="*/ 2119925 h 4787378"/>
              <a:gd name="connsiteX8" fmla="*/ 2119940 w 3492778"/>
              <a:gd name="connsiteY8" fmla="*/ 113299 h 4787378"/>
              <a:gd name="connsiteX9" fmla="*/ 2393580 w 3492778"/>
              <a:gd name="connsiteY9" fmla="*/ 0 h 478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2778" h="4787378">
                <a:moveTo>
                  <a:pt x="2393580" y="0"/>
                </a:moveTo>
                <a:cubicBezTo>
                  <a:pt x="2492653" y="0"/>
                  <a:pt x="2591746" y="37766"/>
                  <a:pt x="2667342" y="113299"/>
                </a:cubicBezTo>
                <a:lnTo>
                  <a:pt x="3492778" y="938868"/>
                </a:lnTo>
                <a:lnTo>
                  <a:pt x="3492778" y="3848510"/>
                </a:lnTo>
                <a:lnTo>
                  <a:pt x="2667342" y="4674079"/>
                </a:lnTo>
                <a:cubicBezTo>
                  <a:pt x="2516149" y="4825145"/>
                  <a:pt x="2270970" y="4825145"/>
                  <a:pt x="2119940" y="4674079"/>
                </a:cubicBezTo>
                <a:lnTo>
                  <a:pt x="113395" y="2667453"/>
                </a:lnTo>
                <a:cubicBezTo>
                  <a:pt x="-37798" y="2516162"/>
                  <a:pt x="-37798" y="2271216"/>
                  <a:pt x="113395" y="2119925"/>
                </a:cubicBezTo>
                <a:lnTo>
                  <a:pt x="2119940" y="113299"/>
                </a:lnTo>
                <a:cubicBezTo>
                  <a:pt x="2195455" y="37766"/>
                  <a:pt x="2294507" y="0"/>
                  <a:pt x="2393580" y="0"/>
                </a:cubicBezTo>
                <a:close/>
              </a:path>
            </a:pathLst>
          </a:custGeom>
          <a:solidFill>
            <a:schemeClr val="accent1">
              <a:lumMod val="60000"/>
              <a:lumOff val="40000"/>
            </a:schemeClr>
          </a:solidFill>
        </p:spPr>
        <p:txBody>
          <a:bodyPr wrap="square" anchor="ctr">
            <a:noAutofit/>
          </a:bodyP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2012819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B55DDFF8-A286-9142-BE70-B178196A39AE}"/>
              </a:ext>
            </a:extLst>
          </p:cNvPr>
          <p:cNvSpPr/>
          <p:nvPr userDrawn="1"/>
        </p:nvSpPr>
        <p:spPr>
          <a:xfrm>
            <a:off x="0" y="1"/>
            <a:ext cx="12192000" cy="68580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6905" y="0"/>
                </a:lnTo>
                <a:lnTo>
                  <a:pt x="6663" y="0"/>
                </a:lnTo>
                <a:lnTo>
                  <a:pt x="0" y="0"/>
                </a:lnTo>
                <a:lnTo>
                  <a:pt x="0" y="13941"/>
                </a:lnTo>
                <a:lnTo>
                  <a:pt x="5747" y="21600"/>
                </a:lnTo>
                <a:lnTo>
                  <a:pt x="17821" y="21600"/>
                </a:lnTo>
                <a:lnTo>
                  <a:pt x="18740" y="20375"/>
                </a:lnTo>
                <a:cubicBezTo>
                  <a:pt x="19494" y="19371"/>
                  <a:pt x="20711" y="19371"/>
                  <a:pt x="21464" y="20375"/>
                </a:cubicBezTo>
                <a:lnTo>
                  <a:pt x="21600" y="20556"/>
                </a:lnTo>
                <a:lnTo>
                  <a:pt x="21600" y="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28" name="Title 1">
            <a:extLst>
              <a:ext uri="{FF2B5EF4-FFF2-40B4-BE49-F238E27FC236}">
                <a16:creationId xmlns:a16="http://schemas.microsoft.com/office/drawing/2014/main" id="{C89E6CC6-39BF-46E2-B1D0-7967F6F97C8D}"/>
              </a:ext>
            </a:extLst>
          </p:cNvPr>
          <p:cNvSpPr>
            <a:spLocks noGrp="1"/>
          </p:cNvSpPr>
          <p:nvPr>
            <p:ph type="title"/>
          </p:nvPr>
        </p:nvSpPr>
        <p:spPr>
          <a:xfrm>
            <a:off x="1673158" y="365126"/>
            <a:ext cx="9351524" cy="1325563"/>
          </a:xfrm>
        </p:spPr>
        <p:txBody>
          <a:bodyPr/>
          <a:lstStyle>
            <a:lvl1pPr>
              <a:defRPr>
                <a:solidFill>
                  <a:schemeClr val="bg1"/>
                </a:solidFill>
              </a:defRPr>
            </a:lvl1pPr>
          </a:lstStyle>
          <a:p>
            <a:r>
              <a:rPr lang="en-US"/>
              <a:t>Click to edit Master title style</a:t>
            </a:r>
            <a:endParaRPr lang="en-US" dirty="0"/>
          </a:p>
        </p:txBody>
      </p:sp>
      <p:sp>
        <p:nvSpPr>
          <p:cNvPr id="29" name="Content Placeholder 2">
            <a:extLst>
              <a:ext uri="{FF2B5EF4-FFF2-40B4-BE49-F238E27FC236}">
                <a16:creationId xmlns:a16="http://schemas.microsoft.com/office/drawing/2014/main" id="{EB79CB35-9B92-4624-B48F-C0CF7A2C5F8B}"/>
              </a:ext>
            </a:extLst>
          </p:cNvPr>
          <p:cNvSpPr>
            <a:spLocks noGrp="1"/>
          </p:cNvSpPr>
          <p:nvPr>
            <p:ph idx="1"/>
          </p:nvPr>
        </p:nvSpPr>
        <p:spPr>
          <a:xfrm>
            <a:off x="1673158" y="1825625"/>
            <a:ext cx="9351524" cy="404015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Date Placeholder 3">
            <a:extLst>
              <a:ext uri="{FF2B5EF4-FFF2-40B4-BE49-F238E27FC236}">
                <a16:creationId xmlns:a16="http://schemas.microsoft.com/office/drawing/2014/main" id="{6C1CE33F-5189-414B-9B26-A58EC61B34D2}"/>
              </a:ext>
            </a:extLst>
          </p:cNvPr>
          <p:cNvSpPr>
            <a:spLocks noGrp="1"/>
          </p:cNvSpPr>
          <p:nvPr>
            <p:ph type="dt" sz="half" idx="10"/>
          </p:nvPr>
        </p:nvSpPr>
        <p:spPr>
          <a:xfrm>
            <a:off x="838200" y="6356351"/>
            <a:ext cx="2743200" cy="365125"/>
          </a:xfrm>
        </p:spPr>
        <p:txBody>
          <a:bodyPr/>
          <a:lstStyle/>
          <a:p>
            <a:r>
              <a:rPr lang="en-US" dirty="0"/>
              <a:t>Date</a:t>
            </a:r>
          </a:p>
        </p:txBody>
      </p:sp>
      <p:sp>
        <p:nvSpPr>
          <p:cNvPr id="31" name="Footer Placeholder 4">
            <a:extLst>
              <a:ext uri="{FF2B5EF4-FFF2-40B4-BE49-F238E27FC236}">
                <a16:creationId xmlns:a16="http://schemas.microsoft.com/office/drawing/2014/main" id="{9E161DA4-AA69-44DA-AD82-6A3B9288D56D}"/>
              </a:ext>
            </a:extLst>
          </p:cNvPr>
          <p:cNvSpPr>
            <a:spLocks noGrp="1"/>
          </p:cNvSpPr>
          <p:nvPr>
            <p:ph type="ftr" sz="quarter" idx="11"/>
          </p:nvPr>
        </p:nvSpPr>
        <p:spPr>
          <a:xfrm>
            <a:off x="4038600" y="6356351"/>
            <a:ext cx="4114800" cy="365125"/>
          </a:xfrm>
        </p:spPr>
        <p:txBody>
          <a:bodyPr/>
          <a:lstStyle/>
          <a:p>
            <a:endParaRPr lang="en-US"/>
          </a:p>
        </p:txBody>
      </p:sp>
      <p:sp>
        <p:nvSpPr>
          <p:cNvPr id="32" name="Slide Number Placeholder 5">
            <a:extLst>
              <a:ext uri="{FF2B5EF4-FFF2-40B4-BE49-F238E27FC236}">
                <a16:creationId xmlns:a16="http://schemas.microsoft.com/office/drawing/2014/main" id="{C1571870-B8E8-4979-BDF5-9E965C35F03B}"/>
              </a:ext>
            </a:extLst>
          </p:cNvPr>
          <p:cNvSpPr>
            <a:spLocks noGrp="1"/>
          </p:cNvSpPr>
          <p:nvPr>
            <p:ph type="sldNum" sz="quarter" idx="12"/>
          </p:nvPr>
        </p:nvSpPr>
        <p:spPr>
          <a:xfrm>
            <a:off x="8610600" y="6356351"/>
            <a:ext cx="2743200" cy="365125"/>
          </a:xfrm>
        </p:spPr>
        <p:txBody>
          <a:bodyPr/>
          <a:lstStyle/>
          <a:p>
            <a:fld id="{83A218E8-C0C8-4525-BD5F-99356FF4A842}" type="slidenum">
              <a:rPr lang="en-US" smtClean="0"/>
              <a:t>‹#›</a:t>
            </a:fld>
            <a:endParaRPr lang="en-US"/>
          </a:p>
        </p:txBody>
      </p:sp>
      <p:sp>
        <p:nvSpPr>
          <p:cNvPr id="11" name="Shape">
            <a:extLst>
              <a:ext uri="{FF2B5EF4-FFF2-40B4-BE49-F238E27FC236}">
                <a16:creationId xmlns:a16="http://schemas.microsoft.com/office/drawing/2014/main" id="{DB153181-255C-3F47-9A9A-2E0809267D01}"/>
              </a:ext>
            </a:extLst>
          </p:cNvPr>
          <p:cNvSpPr/>
          <p:nvPr userDrawn="1"/>
        </p:nvSpPr>
        <p:spPr>
          <a:xfrm>
            <a:off x="11258125" y="1043766"/>
            <a:ext cx="933875" cy="1880865"/>
          </a:xfrm>
          <a:custGeom>
            <a:avLst/>
            <a:gdLst/>
            <a:ahLst/>
            <a:cxnLst>
              <a:cxn ang="0">
                <a:pos x="wd2" y="hd2"/>
              </a:cxn>
              <a:cxn ang="5400000">
                <a:pos x="wd2" y="hd2"/>
              </a:cxn>
              <a:cxn ang="10800000">
                <a:pos x="wd2" y="hd2"/>
              </a:cxn>
              <a:cxn ang="16200000">
                <a:pos x="wd2" y="hd2"/>
              </a:cxn>
            </a:cxnLst>
            <a:rect l="0" t="0" r="r" b="b"/>
            <a:pathLst>
              <a:path w="19987" h="21600" extrusionOk="0">
                <a:moveTo>
                  <a:pt x="19987" y="0"/>
                </a:moveTo>
                <a:lnTo>
                  <a:pt x="4838" y="6096"/>
                </a:lnTo>
                <a:cubicBezTo>
                  <a:pt x="-1613" y="8692"/>
                  <a:pt x="-1613" y="12908"/>
                  <a:pt x="4838" y="15504"/>
                </a:cubicBezTo>
                <a:lnTo>
                  <a:pt x="19987" y="21600"/>
                </a:lnTo>
                <a:lnTo>
                  <a:pt x="19987" y="0"/>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12" name="Shape">
            <a:extLst>
              <a:ext uri="{FF2B5EF4-FFF2-40B4-BE49-F238E27FC236}">
                <a16:creationId xmlns:a16="http://schemas.microsoft.com/office/drawing/2014/main" id="{090ABBD2-53B6-7241-AE25-2C3BA458DBD3}"/>
              </a:ext>
            </a:extLst>
          </p:cNvPr>
          <p:cNvSpPr/>
          <p:nvPr userDrawn="1"/>
        </p:nvSpPr>
        <p:spPr>
          <a:xfrm>
            <a:off x="11258125" y="4255769"/>
            <a:ext cx="933875" cy="1880865"/>
          </a:xfrm>
          <a:custGeom>
            <a:avLst/>
            <a:gdLst/>
            <a:ahLst/>
            <a:cxnLst>
              <a:cxn ang="0">
                <a:pos x="wd2" y="hd2"/>
              </a:cxn>
              <a:cxn ang="5400000">
                <a:pos x="wd2" y="hd2"/>
              </a:cxn>
              <a:cxn ang="10800000">
                <a:pos x="wd2" y="hd2"/>
              </a:cxn>
              <a:cxn ang="16200000">
                <a:pos x="wd2" y="hd2"/>
              </a:cxn>
            </a:cxnLst>
            <a:rect l="0" t="0" r="r" b="b"/>
            <a:pathLst>
              <a:path w="19987" h="21600" extrusionOk="0">
                <a:moveTo>
                  <a:pt x="19987" y="0"/>
                </a:moveTo>
                <a:lnTo>
                  <a:pt x="4838" y="6096"/>
                </a:lnTo>
                <a:cubicBezTo>
                  <a:pt x="-1613" y="8692"/>
                  <a:pt x="-1613" y="12908"/>
                  <a:pt x="4838" y="15504"/>
                </a:cubicBezTo>
                <a:lnTo>
                  <a:pt x="19987" y="21600"/>
                </a:lnTo>
                <a:lnTo>
                  <a:pt x="19987" y="0"/>
                </a:lnTo>
                <a:close/>
              </a:path>
            </a:pathLst>
          </a:custGeom>
          <a:solidFill>
            <a:schemeClr val="accent1">
              <a:lumMod val="60000"/>
              <a:lumOff val="40000"/>
            </a:schemeClr>
          </a:solidFill>
          <a:ln w="12700">
            <a:miter lim="400000"/>
          </a:ln>
        </p:spPr>
        <p:txBody>
          <a:bodyPr lIns="38100" tIns="38100" rIns="38100" bIns="38100" anchor="ctr"/>
          <a:lstStyle/>
          <a:p>
            <a:pPr>
              <a:defRPr sz="3000">
                <a:solidFill>
                  <a:srgbClr val="FFFFFF"/>
                </a:solidFill>
              </a:defRPr>
            </a:pPr>
            <a:endParaRPr sz="3000"/>
          </a:p>
        </p:txBody>
      </p:sp>
    </p:spTree>
    <p:extLst>
      <p:ext uri="{BB962C8B-B14F-4D97-AF65-F5344CB8AC3E}">
        <p14:creationId xmlns:p14="http://schemas.microsoft.com/office/powerpoint/2010/main" val="101231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8CA4526E-2173-6E48-9295-2ABA1258947E}"/>
              </a:ext>
            </a:extLst>
          </p:cNvPr>
          <p:cNvSpPr/>
          <p:nvPr userDrawn="1"/>
        </p:nvSpPr>
        <p:spPr>
          <a:xfrm>
            <a:off x="0" y="5680394"/>
            <a:ext cx="2689016" cy="1177606"/>
          </a:xfrm>
          <a:custGeom>
            <a:avLst/>
            <a:gdLst/>
            <a:ahLst/>
            <a:cxnLst>
              <a:cxn ang="0">
                <a:pos x="wd2" y="hd2"/>
              </a:cxn>
              <a:cxn ang="5400000">
                <a:pos x="wd2" y="hd2"/>
              </a:cxn>
              <a:cxn ang="10800000">
                <a:pos x="wd2" y="hd2"/>
              </a:cxn>
              <a:cxn ang="16200000">
                <a:pos x="wd2" y="hd2"/>
              </a:cxn>
            </a:cxnLst>
            <a:rect l="0" t="0" r="r" b="b"/>
            <a:pathLst>
              <a:path w="21600" h="20929" extrusionOk="0">
                <a:moveTo>
                  <a:pt x="10202" y="2015"/>
                </a:moveTo>
                <a:cubicBezTo>
                  <a:pt x="8583" y="-671"/>
                  <a:pt x="5958" y="-671"/>
                  <a:pt x="4339" y="2015"/>
                </a:cubicBezTo>
                <a:lnTo>
                  <a:pt x="0" y="9418"/>
                </a:lnTo>
                <a:lnTo>
                  <a:pt x="0" y="20929"/>
                </a:lnTo>
                <a:lnTo>
                  <a:pt x="21600" y="20929"/>
                </a:lnTo>
                <a:lnTo>
                  <a:pt x="10202" y="2015"/>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28" name="Title 1">
            <a:extLst>
              <a:ext uri="{FF2B5EF4-FFF2-40B4-BE49-F238E27FC236}">
                <a16:creationId xmlns:a16="http://schemas.microsoft.com/office/drawing/2014/main" id="{946BF2A4-2203-49A4-A0A3-F3320F75E71D}"/>
              </a:ext>
            </a:extLst>
          </p:cNvPr>
          <p:cNvSpPr>
            <a:spLocks noGrp="1"/>
          </p:cNvSpPr>
          <p:nvPr>
            <p:ph type="title"/>
          </p:nvPr>
        </p:nvSpPr>
        <p:spPr>
          <a:xfrm>
            <a:off x="838200" y="1420239"/>
            <a:ext cx="10515600" cy="1145719"/>
          </a:xfrm>
        </p:spPr>
        <p:txBody>
          <a:bodyPr/>
          <a:lstStyle/>
          <a:p>
            <a:r>
              <a:rPr lang="en-US"/>
              <a:t>Click to edit Master title style</a:t>
            </a:r>
            <a:endParaRPr lang="en-US" dirty="0"/>
          </a:p>
        </p:txBody>
      </p:sp>
      <p:sp>
        <p:nvSpPr>
          <p:cNvPr id="29" name="Content Placeholder 2">
            <a:extLst>
              <a:ext uri="{FF2B5EF4-FFF2-40B4-BE49-F238E27FC236}">
                <a16:creationId xmlns:a16="http://schemas.microsoft.com/office/drawing/2014/main" id="{EE36C935-202C-45E1-AAC2-E76C25781D89}"/>
              </a:ext>
            </a:extLst>
          </p:cNvPr>
          <p:cNvSpPr>
            <a:spLocks noGrp="1"/>
          </p:cNvSpPr>
          <p:nvPr>
            <p:ph idx="1"/>
          </p:nvPr>
        </p:nvSpPr>
        <p:spPr>
          <a:xfrm>
            <a:off x="1478603" y="2655651"/>
            <a:ext cx="9875196" cy="337549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Date Placeholder 3">
            <a:extLst>
              <a:ext uri="{FF2B5EF4-FFF2-40B4-BE49-F238E27FC236}">
                <a16:creationId xmlns:a16="http://schemas.microsoft.com/office/drawing/2014/main" id="{74413308-021A-4482-BA51-2E12E6BAE79E}"/>
              </a:ext>
            </a:extLst>
          </p:cNvPr>
          <p:cNvSpPr>
            <a:spLocks noGrp="1"/>
          </p:cNvSpPr>
          <p:nvPr>
            <p:ph type="dt" sz="half" idx="10"/>
          </p:nvPr>
        </p:nvSpPr>
        <p:spPr>
          <a:xfrm>
            <a:off x="838200" y="6356351"/>
            <a:ext cx="2743200" cy="365125"/>
          </a:xfrm>
        </p:spPr>
        <p:txBody>
          <a:bodyPr/>
          <a:lstStyle/>
          <a:p>
            <a:r>
              <a:rPr lang="en-US" dirty="0"/>
              <a:t>Date</a:t>
            </a:r>
          </a:p>
        </p:txBody>
      </p:sp>
      <p:sp>
        <p:nvSpPr>
          <p:cNvPr id="31" name="Footer Placeholder 4">
            <a:extLst>
              <a:ext uri="{FF2B5EF4-FFF2-40B4-BE49-F238E27FC236}">
                <a16:creationId xmlns:a16="http://schemas.microsoft.com/office/drawing/2014/main" id="{F5ABE93D-47C7-4C5D-9CBC-D68A4B8C5E0A}"/>
              </a:ext>
            </a:extLst>
          </p:cNvPr>
          <p:cNvSpPr>
            <a:spLocks noGrp="1"/>
          </p:cNvSpPr>
          <p:nvPr>
            <p:ph type="ftr" sz="quarter" idx="11"/>
          </p:nvPr>
        </p:nvSpPr>
        <p:spPr>
          <a:xfrm>
            <a:off x="4038600" y="6356351"/>
            <a:ext cx="4114800" cy="365125"/>
          </a:xfrm>
        </p:spPr>
        <p:txBody>
          <a:bodyPr/>
          <a:lstStyle/>
          <a:p>
            <a:endParaRPr lang="en-US"/>
          </a:p>
        </p:txBody>
      </p:sp>
      <p:sp>
        <p:nvSpPr>
          <p:cNvPr id="32" name="Slide Number Placeholder 5">
            <a:extLst>
              <a:ext uri="{FF2B5EF4-FFF2-40B4-BE49-F238E27FC236}">
                <a16:creationId xmlns:a16="http://schemas.microsoft.com/office/drawing/2014/main" id="{58BE1DA5-7A31-4970-8B1A-A57B63F7BC7D}"/>
              </a:ext>
            </a:extLst>
          </p:cNvPr>
          <p:cNvSpPr>
            <a:spLocks noGrp="1"/>
          </p:cNvSpPr>
          <p:nvPr>
            <p:ph type="sldNum" sz="quarter" idx="12"/>
          </p:nvPr>
        </p:nvSpPr>
        <p:spPr>
          <a:xfrm>
            <a:off x="8610600" y="6356351"/>
            <a:ext cx="2743200" cy="365125"/>
          </a:xfrm>
        </p:spPr>
        <p:txBody>
          <a:bodyPr/>
          <a:lstStyle/>
          <a:p>
            <a:fld id="{83A218E8-C0C8-4525-BD5F-99356FF4A842}" type="slidenum">
              <a:rPr lang="en-US" smtClean="0"/>
              <a:t>‹#›</a:t>
            </a:fld>
            <a:endParaRPr lang="en-US"/>
          </a:p>
        </p:txBody>
      </p:sp>
      <p:sp>
        <p:nvSpPr>
          <p:cNvPr id="11" name="Shape">
            <a:extLst>
              <a:ext uri="{FF2B5EF4-FFF2-40B4-BE49-F238E27FC236}">
                <a16:creationId xmlns:a16="http://schemas.microsoft.com/office/drawing/2014/main" id="{2F2F6098-2D6C-764E-B5C3-078C6E3ABC23}"/>
              </a:ext>
            </a:extLst>
          </p:cNvPr>
          <p:cNvSpPr/>
          <p:nvPr userDrawn="1"/>
        </p:nvSpPr>
        <p:spPr>
          <a:xfrm>
            <a:off x="2174237" y="1"/>
            <a:ext cx="10017763" cy="1500191"/>
          </a:xfrm>
          <a:custGeom>
            <a:avLst/>
            <a:gdLst/>
            <a:ahLst/>
            <a:cxnLst>
              <a:cxn ang="0">
                <a:pos x="wd2" y="hd2"/>
              </a:cxn>
              <a:cxn ang="5400000">
                <a:pos x="wd2" y="hd2"/>
              </a:cxn>
              <a:cxn ang="10800000">
                <a:pos x="wd2" y="hd2"/>
              </a:cxn>
              <a:cxn ang="16200000">
                <a:pos x="wd2" y="hd2"/>
              </a:cxn>
            </a:cxnLst>
            <a:rect l="0" t="0" r="r" b="b"/>
            <a:pathLst>
              <a:path w="21600" h="20863" extrusionOk="0">
                <a:moveTo>
                  <a:pt x="9916" y="0"/>
                </a:moveTo>
                <a:lnTo>
                  <a:pt x="6061" y="18651"/>
                </a:lnTo>
                <a:cubicBezTo>
                  <a:pt x="5451" y="21600"/>
                  <a:pt x="4465" y="21600"/>
                  <a:pt x="3856" y="18651"/>
                </a:cubicBezTo>
                <a:lnTo>
                  <a:pt x="0" y="0"/>
                </a:lnTo>
                <a:lnTo>
                  <a:pt x="9916" y="0"/>
                </a:lnTo>
                <a:close/>
                <a:moveTo>
                  <a:pt x="17317" y="18651"/>
                </a:moveTo>
                <a:cubicBezTo>
                  <a:pt x="17927" y="21600"/>
                  <a:pt x="18913" y="21600"/>
                  <a:pt x="19523" y="18651"/>
                </a:cubicBezTo>
                <a:lnTo>
                  <a:pt x="21600" y="8601"/>
                </a:lnTo>
                <a:lnTo>
                  <a:pt x="21600" y="0"/>
                </a:lnTo>
                <a:lnTo>
                  <a:pt x="13462" y="0"/>
                </a:lnTo>
                <a:lnTo>
                  <a:pt x="17317" y="18651"/>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12" name="Shape">
            <a:extLst>
              <a:ext uri="{FF2B5EF4-FFF2-40B4-BE49-F238E27FC236}">
                <a16:creationId xmlns:a16="http://schemas.microsoft.com/office/drawing/2014/main" id="{DB8BC917-D97B-B643-AF1E-41F058E16650}"/>
              </a:ext>
            </a:extLst>
          </p:cNvPr>
          <p:cNvSpPr/>
          <p:nvPr userDrawn="1"/>
        </p:nvSpPr>
        <p:spPr>
          <a:xfrm>
            <a:off x="8751146" y="0"/>
            <a:ext cx="3440855" cy="1321118"/>
          </a:xfrm>
          <a:custGeom>
            <a:avLst/>
            <a:gdLst/>
            <a:ahLst/>
            <a:cxnLst>
              <a:cxn ang="0">
                <a:pos x="wd2" y="hd2"/>
              </a:cxn>
              <a:cxn ang="5400000">
                <a:pos x="wd2" y="hd2"/>
              </a:cxn>
              <a:cxn ang="10800000">
                <a:pos x="wd2" y="hd2"/>
              </a:cxn>
              <a:cxn ang="16200000">
                <a:pos x="wd2" y="hd2"/>
              </a:cxn>
            </a:cxnLst>
            <a:rect l="0" t="0" r="r" b="b"/>
            <a:pathLst>
              <a:path w="21600" h="20999" extrusionOk="0">
                <a:moveTo>
                  <a:pt x="10109" y="19198"/>
                </a:moveTo>
                <a:cubicBezTo>
                  <a:pt x="11374" y="21600"/>
                  <a:pt x="13426" y="21600"/>
                  <a:pt x="14691" y="19198"/>
                </a:cubicBezTo>
                <a:lnTo>
                  <a:pt x="21600" y="6076"/>
                </a:lnTo>
                <a:lnTo>
                  <a:pt x="21600" y="0"/>
                </a:lnTo>
                <a:lnTo>
                  <a:pt x="0" y="0"/>
                </a:lnTo>
                <a:lnTo>
                  <a:pt x="10109" y="19198"/>
                </a:lnTo>
                <a:close/>
              </a:path>
            </a:pathLst>
          </a:custGeom>
          <a:solidFill>
            <a:schemeClr val="accent1">
              <a:lumMod val="60000"/>
              <a:lumOff val="40000"/>
            </a:schemeClr>
          </a:solidFill>
          <a:ln w="12700">
            <a:miter lim="400000"/>
          </a:ln>
        </p:spPr>
        <p:txBody>
          <a:bodyPr lIns="38100" tIns="38100" rIns="38100" bIns="38100" anchor="ctr"/>
          <a:lstStyle/>
          <a:p>
            <a:pPr>
              <a:defRPr sz="3000">
                <a:solidFill>
                  <a:srgbClr val="FFFFFF"/>
                </a:solidFill>
              </a:defRPr>
            </a:pPr>
            <a:endParaRPr sz="3000"/>
          </a:p>
        </p:txBody>
      </p:sp>
    </p:spTree>
    <p:extLst>
      <p:ext uri="{BB962C8B-B14F-4D97-AF65-F5344CB8AC3E}">
        <p14:creationId xmlns:p14="http://schemas.microsoft.com/office/powerpoint/2010/main" val="3552522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8318A7DD-B3D5-1A4A-83BD-06D944CA6182}"/>
              </a:ext>
            </a:extLst>
          </p:cNvPr>
          <p:cNvSpPr/>
          <p:nvPr userDrawn="1"/>
        </p:nvSpPr>
        <p:spPr>
          <a:xfrm>
            <a:off x="1" y="2"/>
            <a:ext cx="12192000" cy="5560377"/>
          </a:xfrm>
          <a:custGeom>
            <a:avLst/>
            <a:gdLst/>
            <a:ahLst/>
            <a:cxnLst>
              <a:cxn ang="0">
                <a:pos x="wd2" y="hd2"/>
              </a:cxn>
              <a:cxn ang="5400000">
                <a:pos x="wd2" y="hd2"/>
              </a:cxn>
              <a:cxn ang="10800000">
                <a:pos x="wd2" y="hd2"/>
              </a:cxn>
              <a:cxn ang="16200000">
                <a:pos x="wd2" y="hd2"/>
              </a:cxn>
            </a:cxnLst>
            <a:rect l="0" t="0" r="r" b="b"/>
            <a:pathLst>
              <a:path w="21600" h="21396" extrusionOk="0">
                <a:moveTo>
                  <a:pt x="8772" y="20784"/>
                </a:moveTo>
                <a:lnTo>
                  <a:pt x="12509" y="14724"/>
                </a:lnTo>
                <a:cubicBezTo>
                  <a:pt x="13012" y="13908"/>
                  <a:pt x="13825" y="13908"/>
                  <a:pt x="14329" y="14724"/>
                </a:cubicBezTo>
                <a:lnTo>
                  <a:pt x="18065" y="20784"/>
                </a:lnTo>
                <a:cubicBezTo>
                  <a:pt x="18569" y="21600"/>
                  <a:pt x="19382" y="21600"/>
                  <a:pt x="19885" y="20784"/>
                </a:cubicBezTo>
                <a:lnTo>
                  <a:pt x="21600" y="18003"/>
                </a:lnTo>
                <a:lnTo>
                  <a:pt x="21600" y="0"/>
                </a:lnTo>
                <a:lnTo>
                  <a:pt x="15558" y="0"/>
                </a:lnTo>
                <a:lnTo>
                  <a:pt x="11288" y="0"/>
                </a:lnTo>
                <a:lnTo>
                  <a:pt x="4448" y="0"/>
                </a:lnTo>
                <a:lnTo>
                  <a:pt x="0" y="0"/>
                </a:lnTo>
                <a:lnTo>
                  <a:pt x="0" y="459"/>
                </a:lnTo>
                <a:lnTo>
                  <a:pt x="0" y="9500"/>
                </a:lnTo>
                <a:lnTo>
                  <a:pt x="6958" y="20784"/>
                </a:lnTo>
                <a:cubicBezTo>
                  <a:pt x="7455" y="21595"/>
                  <a:pt x="8269" y="21595"/>
                  <a:pt x="8772" y="20784"/>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16" name="Shape">
            <a:extLst>
              <a:ext uri="{FF2B5EF4-FFF2-40B4-BE49-F238E27FC236}">
                <a16:creationId xmlns:a16="http://schemas.microsoft.com/office/drawing/2014/main" id="{88E42881-14FF-E14E-8518-66E4DE2B7C72}"/>
              </a:ext>
            </a:extLst>
          </p:cNvPr>
          <p:cNvSpPr/>
          <p:nvPr userDrawn="1"/>
        </p:nvSpPr>
        <p:spPr>
          <a:xfrm>
            <a:off x="7534909" y="1"/>
            <a:ext cx="4657091" cy="3254055"/>
          </a:xfrm>
          <a:custGeom>
            <a:avLst/>
            <a:gdLst/>
            <a:ahLst/>
            <a:cxnLst>
              <a:cxn ang="0">
                <a:pos x="wd2" y="hd2"/>
              </a:cxn>
              <a:cxn ang="5400000">
                <a:pos x="wd2" y="hd2"/>
              </a:cxn>
              <a:cxn ang="10800000">
                <a:pos x="wd2" y="hd2"/>
              </a:cxn>
              <a:cxn ang="16200000">
                <a:pos x="wd2" y="hd2"/>
              </a:cxn>
            </a:cxnLst>
            <a:rect l="0" t="0" r="r" b="b"/>
            <a:pathLst>
              <a:path w="21369" h="21352" extrusionOk="0">
                <a:moveTo>
                  <a:pt x="694" y="3850"/>
                </a:moveTo>
                <a:cubicBezTo>
                  <a:pt x="-231" y="4842"/>
                  <a:pt x="-231" y="6450"/>
                  <a:pt x="694" y="7442"/>
                </a:cubicBezTo>
                <a:lnTo>
                  <a:pt x="12970" y="20608"/>
                </a:lnTo>
                <a:cubicBezTo>
                  <a:pt x="13894" y="21600"/>
                  <a:pt x="15394" y="21600"/>
                  <a:pt x="16319" y="20608"/>
                </a:cubicBezTo>
                <a:lnTo>
                  <a:pt x="21369" y="15192"/>
                </a:lnTo>
                <a:lnTo>
                  <a:pt x="21369" y="0"/>
                </a:lnTo>
                <a:lnTo>
                  <a:pt x="4283" y="0"/>
                </a:lnTo>
                <a:lnTo>
                  <a:pt x="694" y="3850"/>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12" name="Date Placeholder 3">
            <a:extLst>
              <a:ext uri="{FF2B5EF4-FFF2-40B4-BE49-F238E27FC236}">
                <a16:creationId xmlns:a16="http://schemas.microsoft.com/office/drawing/2014/main" id="{C3199031-3894-4988-AD6A-1D5A1837ED28}"/>
              </a:ext>
            </a:extLst>
          </p:cNvPr>
          <p:cNvSpPr>
            <a:spLocks noGrp="1"/>
          </p:cNvSpPr>
          <p:nvPr>
            <p:ph type="dt" sz="half" idx="10"/>
          </p:nvPr>
        </p:nvSpPr>
        <p:spPr>
          <a:xfrm>
            <a:off x="838200" y="6356351"/>
            <a:ext cx="2743200" cy="365125"/>
          </a:xfrm>
          <a:prstGeom prst="rect">
            <a:avLst/>
          </a:prstGeom>
        </p:spPr>
        <p:txBody>
          <a:bodyPr/>
          <a:lstStyle/>
          <a:p>
            <a:r>
              <a:rPr lang="en-US"/>
              <a:t>Date</a:t>
            </a:r>
          </a:p>
        </p:txBody>
      </p:sp>
      <p:sp>
        <p:nvSpPr>
          <p:cNvPr id="13" name="Footer Placeholder 4">
            <a:extLst>
              <a:ext uri="{FF2B5EF4-FFF2-40B4-BE49-F238E27FC236}">
                <a16:creationId xmlns:a16="http://schemas.microsoft.com/office/drawing/2014/main" id="{F5C51C7F-11B2-45E9-BD36-07AB456FB742}"/>
              </a:ext>
            </a:extLst>
          </p:cNvPr>
          <p:cNvSpPr>
            <a:spLocks noGrp="1"/>
          </p:cNvSpPr>
          <p:nvPr>
            <p:ph type="ftr" sz="quarter" idx="11"/>
          </p:nvPr>
        </p:nvSpPr>
        <p:spPr>
          <a:xfrm>
            <a:off x="4038600" y="6356351"/>
            <a:ext cx="4114800" cy="365125"/>
          </a:xfrm>
          <a:prstGeom prst="rect">
            <a:avLst/>
          </a:prstGeom>
        </p:spPr>
        <p:txBody>
          <a:bodyPr/>
          <a:lstStyle/>
          <a:p>
            <a:r>
              <a:rPr lang="en-US"/>
              <a:t>Your Footer Here</a:t>
            </a:r>
          </a:p>
        </p:txBody>
      </p:sp>
      <p:sp>
        <p:nvSpPr>
          <p:cNvPr id="14" name="Slide Number Placeholder 5">
            <a:extLst>
              <a:ext uri="{FF2B5EF4-FFF2-40B4-BE49-F238E27FC236}">
                <a16:creationId xmlns:a16="http://schemas.microsoft.com/office/drawing/2014/main" id="{9BE049E1-FD38-4199-B011-6F9B783A5F0F}"/>
              </a:ext>
            </a:extLst>
          </p:cNvPr>
          <p:cNvSpPr>
            <a:spLocks noGrp="1"/>
          </p:cNvSpPr>
          <p:nvPr>
            <p:ph type="sldNum" sz="quarter" idx="12"/>
          </p:nvPr>
        </p:nvSpPr>
        <p:spPr>
          <a:xfrm>
            <a:off x="8610600" y="6356351"/>
            <a:ext cx="2743200" cy="365125"/>
          </a:xfrm>
          <a:prstGeom prst="rect">
            <a:avLst/>
          </a:prstGeom>
        </p:spPr>
        <p:txBody>
          <a:bodyPr/>
          <a:lstStyle/>
          <a:p>
            <a:fld id="{9319E888-69DF-4A19-BF5D-F6CF70DE7D06}" type="slidenum">
              <a:rPr lang="en-US" smtClean="0"/>
              <a:t>‹#›</a:t>
            </a:fld>
            <a:endParaRPr lang="en-US"/>
          </a:p>
        </p:txBody>
      </p:sp>
      <p:sp>
        <p:nvSpPr>
          <p:cNvPr id="18" name="Title 1">
            <a:extLst>
              <a:ext uri="{FF2B5EF4-FFF2-40B4-BE49-F238E27FC236}">
                <a16:creationId xmlns:a16="http://schemas.microsoft.com/office/drawing/2014/main" id="{3EB05137-A383-664E-BBF4-6208243807EE}"/>
              </a:ext>
            </a:extLst>
          </p:cNvPr>
          <p:cNvSpPr>
            <a:spLocks noGrp="1"/>
          </p:cNvSpPr>
          <p:nvPr>
            <p:ph type="ctrTitle"/>
          </p:nvPr>
        </p:nvSpPr>
        <p:spPr>
          <a:xfrm>
            <a:off x="1271081" y="136526"/>
            <a:ext cx="5902384" cy="2744465"/>
          </a:xfrm>
          <a:prstGeom prst="rect">
            <a:avLst/>
          </a:prstGeom>
        </p:spPr>
        <p:txBody>
          <a:bodyPr anchor="b"/>
          <a:lstStyle>
            <a:lvl1pPr algn="ctr">
              <a:defRPr sz="6000">
                <a:solidFill>
                  <a:schemeClr val="bg1"/>
                </a:solidFill>
              </a:defRPr>
            </a:lvl1pPr>
          </a:lstStyle>
          <a:p>
            <a:r>
              <a:rPr lang="en-US"/>
              <a:t>Click to edit Master title style</a:t>
            </a:r>
            <a:endParaRPr lang="en-US" dirty="0"/>
          </a:p>
        </p:txBody>
      </p:sp>
      <p:sp>
        <p:nvSpPr>
          <p:cNvPr id="19" name="Subtitle 2">
            <a:extLst>
              <a:ext uri="{FF2B5EF4-FFF2-40B4-BE49-F238E27FC236}">
                <a16:creationId xmlns:a16="http://schemas.microsoft.com/office/drawing/2014/main" id="{193B38F4-1D89-9D42-834C-7D8B0BB173A0}"/>
              </a:ext>
            </a:extLst>
          </p:cNvPr>
          <p:cNvSpPr>
            <a:spLocks noGrp="1"/>
          </p:cNvSpPr>
          <p:nvPr>
            <p:ph type="subTitle" idx="1"/>
          </p:nvPr>
        </p:nvSpPr>
        <p:spPr>
          <a:xfrm>
            <a:off x="2088205" y="2973065"/>
            <a:ext cx="4319081" cy="1655762"/>
          </a:xfrm>
          <a:prstGeom prst="rect">
            <a:avLst/>
          </a:prstGeom>
        </p:spPr>
        <p:txBody>
          <a:bodyPr/>
          <a:lstStyle>
            <a:lvl1pPr marL="0" indent="0" algn="ctr">
              <a:buNone/>
              <a:defRPr sz="2400">
                <a:solidFill>
                  <a:schemeClr val="bg2">
                    <a:lumMod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Freeform 20">
            <a:extLst>
              <a:ext uri="{FF2B5EF4-FFF2-40B4-BE49-F238E27FC236}">
                <a16:creationId xmlns:a16="http://schemas.microsoft.com/office/drawing/2014/main" id="{1DAB8DB9-EA0F-1548-9F57-D64AF58F2911}"/>
              </a:ext>
            </a:extLst>
          </p:cNvPr>
          <p:cNvSpPr>
            <a:spLocks noGrp="1"/>
          </p:cNvSpPr>
          <p:nvPr>
            <p:ph type="pic" sz="quarter" idx="13"/>
          </p:nvPr>
        </p:nvSpPr>
        <p:spPr>
          <a:xfrm>
            <a:off x="7534966" y="596844"/>
            <a:ext cx="4657036" cy="4787378"/>
          </a:xfrm>
          <a:custGeom>
            <a:avLst/>
            <a:gdLst>
              <a:gd name="connsiteX0" fmla="*/ 2393579 w 3492777"/>
              <a:gd name="connsiteY0" fmla="*/ 0 h 4787378"/>
              <a:gd name="connsiteX1" fmla="*/ 2667342 w 3492777"/>
              <a:gd name="connsiteY1" fmla="*/ 113299 h 4787378"/>
              <a:gd name="connsiteX2" fmla="*/ 3492777 w 3492777"/>
              <a:gd name="connsiteY2" fmla="*/ 938868 h 4787378"/>
              <a:gd name="connsiteX3" fmla="*/ 3492777 w 3492777"/>
              <a:gd name="connsiteY3" fmla="*/ 3848510 h 4787378"/>
              <a:gd name="connsiteX4" fmla="*/ 2667342 w 3492777"/>
              <a:gd name="connsiteY4" fmla="*/ 4674079 h 4787378"/>
              <a:gd name="connsiteX5" fmla="*/ 2119939 w 3492777"/>
              <a:gd name="connsiteY5" fmla="*/ 4674079 h 4787378"/>
              <a:gd name="connsiteX6" fmla="*/ 113395 w 3492777"/>
              <a:gd name="connsiteY6" fmla="*/ 2667453 h 4787378"/>
              <a:gd name="connsiteX7" fmla="*/ 113395 w 3492777"/>
              <a:gd name="connsiteY7" fmla="*/ 2119925 h 4787378"/>
              <a:gd name="connsiteX8" fmla="*/ 2119939 w 3492777"/>
              <a:gd name="connsiteY8" fmla="*/ 113299 h 4787378"/>
              <a:gd name="connsiteX9" fmla="*/ 2393579 w 3492777"/>
              <a:gd name="connsiteY9" fmla="*/ 0 h 478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2777" h="4787378">
                <a:moveTo>
                  <a:pt x="2393579" y="0"/>
                </a:moveTo>
                <a:cubicBezTo>
                  <a:pt x="2492652" y="0"/>
                  <a:pt x="2591745" y="37766"/>
                  <a:pt x="2667342" y="113299"/>
                </a:cubicBezTo>
                <a:lnTo>
                  <a:pt x="3492777" y="938868"/>
                </a:lnTo>
                <a:lnTo>
                  <a:pt x="3492777" y="3848510"/>
                </a:lnTo>
                <a:lnTo>
                  <a:pt x="2667342" y="4674079"/>
                </a:lnTo>
                <a:cubicBezTo>
                  <a:pt x="2516148" y="4825145"/>
                  <a:pt x="2270969" y="4825145"/>
                  <a:pt x="2119939" y="4674079"/>
                </a:cubicBezTo>
                <a:lnTo>
                  <a:pt x="113395" y="2667453"/>
                </a:lnTo>
                <a:cubicBezTo>
                  <a:pt x="-37798" y="2516162"/>
                  <a:pt x="-37798" y="2271216"/>
                  <a:pt x="113395" y="2119925"/>
                </a:cubicBezTo>
                <a:lnTo>
                  <a:pt x="2119939" y="113299"/>
                </a:lnTo>
                <a:cubicBezTo>
                  <a:pt x="2195454" y="37766"/>
                  <a:pt x="2294507" y="0"/>
                  <a:pt x="2393579" y="0"/>
                </a:cubicBezTo>
                <a:close/>
              </a:path>
            </a:pathLst>
          </a:custGeom>
          <a:solidFill>
            <a:schemeClr val="accent1">
              <a:lumMod val="60000"/>
              <a:lumOff val="40000"/>
            </a:schemeClr>
          </a:solidFill>
        </p:spPr>
        <p:txBody>
          <a:bodyPr wrap="square" anchor="ctr">
            <a:noAutofit/>
          </a:bodyP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36016786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7D6BC84F-E10F-2440-959E-5E0C3A6261A0}"/>
              </a:ext>
            </a:extLst>
          </p:cNvPr>
          <p:cNvSpPr/>
          <p:nvPr userDrawn="1"/>
        </p:nvSpPr>
        <p:spPr>
          <a:xfrm>
            <a:off x="-1" y="1297622"/>
            <a:ext cx="12192001" cy="5560379"/>
          </a:xfrm>
          <a:custGeom>
            <a:avLst/>
            <a:gdLst/>
            <a:ahLst/>
            <a:cxnLst>
              <a:cxn ang="0">
                <a:pos x="wd2" y="hd2"/>
              </a:cxn>
              <a:cxn ang="5400000">
                <a:pos x="wd2" y="hd2"/>
              </a:cxn>
              <a:cxn ang="10800000">
                <a:pos x="wd2" y="hd2"/>
              </a:cxn>
              <a:cxn ang="16200000">
                <a:pos x="wd2" y="hd2"/>
              </a:cxn>
            </a:cxnLst>
            <a:rect l="0" t="0" r="r" b="b"/>
            <a:pathLst>
              <a:path w="21600" h="21396" extrusionOk="0">
                <a:moveTo>
                  <a:pt x="12828" y="612"/>
                </a:moveTo>
                <a:lnTo>
                  <a:pt x="9091" y="6672"/>
                </a:lnTo>
                <a:cubicBezTo>
                  <a:pt x="8588" y="7488"/>
                  <a:pt x="7775" y="7488"/>
                  <a:pt x="7271" y="6672"/>
                </a:cubicBezTo>
                <a:lnTo>
                  <a:pt x="3535" y="612"/>
                </a:lnTo>
                <a:cubicBezTo>
                  <a:pt x="3031" y="-204"/>
                  <a:pt x="2218" y="-204"/>
                  <a:pt x="1715" y="612"/>
                </a:cubicBezTo>
                <a:lnTo>
                  <a:pt x="0" y="3393"/>
                </a:lnTo>
                <a:lnTo>
                  <a:pt x="0" y="21396"/>
                </a:lnTo>
                <a:lnTo>
                  <a:pt x="6042" y="21396"/>
                </a:lnTo>
                <a:lnTo>
                  <a:pt x="10312" y="21396"/>
                </a:lnTo>
                <a:lnTo>
                  <a:pt x="17152" y="21396"/>
                </a:lnTo>
                <a:lnTo>
                  <a:pt x="21600" y="21396"/>
                </a:lnTo>
                <a:lnTo>
                  <a:pt x="21600" y="20937"/>
                </a:lnTo>
                <a:lnTo>
                  <a:pt x="21600" y="11896"/>
                </a:lnTo>
                <a:lnTo>
                  <a:pt x="14642" y="612"/>
                </a:lnTo>
                <a:cubicBezTo>
                  <a:pt x="14145" y="-199"/>
                  <a:pt x="13328" y="-199"/>
                  <a:pt x="12828" y="612"/>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16" name="Shape">
            <a:extLst>
              <a:ext uri="{FF2B5EF4-FFF2-40B4-BE49-F238E27FC236}">
                <a16:creationId xmlns:a16="http://schemas.microsoft.com/office/drawing/2014/main" id="{738C8DF4-9462-F648-8CDB-0E56AD9DC3D7}"/>
              </a:ext>
            </a:extLst>
          </p:cNvPr>
          <p:cNvSpPr/>
          <p:nvPr userDrawn="1"/>
        </p:nvSpPr>
        <p:spPr>
          <a:xfrm>
            <a:off x="0" y="3596322"/>
            <a:ext cx="4657091" cy="3261678"/>
          </a:xfrm>
          <a:custGeom>
            <a:avLst/>
            <a:gdLst/>
            <a:ahLst/>
            <a:cxnLst>
              <a:cxn ang="0">
                <a:pos x="wd2" y="hd2"/>
              </a:cxn>
              <a:cxn ang="5400000">
                <a:pos x="wd2" y="hd2"/>
              </a:cxn>
              <a:cxn ang="10800000">
                <a:pos x="wd2" y="hd2"/>
              </a:cxn>
              <a:cxn ang="16200000">
                <a:pos x="wd2" y="hd2"/>
              </a:cxn>
            </a:cxnLst>
            <a:rect l="0" t="0" r="r" b="b"/>
            <a:pathLst>
              <a:path w="21369" h="21352" extrusionOk="0">
                <a:moveTo>
                  <a:pt x="20675" y="17502"/>
                </a:moveTo>
                <a:cubicBezTo>
                  <a:pt x="21600" y="16510"/>
                  <a:pt x="21600" y="14902"/>
                  <a:pt x="20675" y="13910"/>
                </a:cubicBezTo>
                <a:lnTo>
                  <a:pt x="8399" y="744"/>
                </a:lnTo>
                <a:cubicBezTo>
                  <a:pt x="7475" y="-248"/>
                  <a:pt x="5975" y="-248"/>
                  <a:pt x="5050" y="744"/>
                </a:cubicBezTo>
                <a:lnTo>
                  <a:pt x="0" y="6160"/>
                </a:lnTo>
                <a:lnTo>
                  <a:pt x="0" y="21352"/>
                </a:lnTo>
                <a:lnTo>
                  <a:pt x="17086" y="21352"/>
                </a:lnTo>
                <a:lnTo>
                  <a:pt x="20675" y="17502"/>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10" name="Title 1">
            <a:extLst>
              <a:ext uri="{FF2B5EF4-FFF2-40B4-BE49-F238E27FC236}">
                <a16:creationId xmlns:a16="http://schemas.microsoft.com/office/drawing/2014/main" id="{DA380202-F3F2-4AC0-8936-ED6BADE05631}"/>
              </a:ext>
            </a:extLst>
          </p:cNvPr>
          <p:cNvSpPr>
            <a:spLocks noGrp="1"/>
          </p:cNvSpPr>
          <p:nvPr>
            <p:ph type="title"/>
          </p:nvPr>
        </p:nvSpPr>
        <p:spPr>
          <a:xfrm>
            <a:off x="5175115" y="2850204"/>
            <a:ext cx="6172336" cy="2573650"/>
          </a:xfrm>
          <a:prstGeom prst="rect">
            <a:avLst/>
          </a:prstGeom>
        </p:spPr>
        <p:txBody>
          <a:bodyPr anchor="b"/>
          <a:lstStyle>
            <a:lvl1pPr>
              <a:defRPr sz="600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557C91EF-9ECF-426B-B335-36ED8057F197}"/>
              </a:ext>
            </a:extLst>
          </p:cNvPr>
          <p:cNvSpPr>
            <a:spLocks noGrp="1"/>
          </p:cNvSpPr>
          <p:nvPr>
            <p:ph type="body" idx="1"/>
          </p:nvPr>
        </p:nvSpPr>
        <p:spPr>
          <a:xfrm>
            <a:off x="5175115" y="5560380"/>
            <a:ext cx="6172336" cy="529271"/>
          </a:xfrm>
          <a:prstGeom prst="rect">
            <a:avLst/>
          </a:prstGeom>
        </p:spPr>
        <p:txBody>
          <a:bodyPr/>
          <a:lstStyle>
            <a:lvl1pPr marL="0" indent="0">
              <a:buNone/>
              <a:defRPr sz="2400">
                <a:solidFill>
                  <a:schemeClr val="bg2">
                    <a:lumMod val="9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Date Placeholder 3">
            <a:extLst>
              <a:ext uri="{FF2B5EF4-FFF2-40B4-BE49-F238E27FC236}">
                <a16:creationId xmlns:a16="http://schemas.microsoft.com/office/drawing/2014/main" id="{8242CDC6-C80B-4491-B1E2-366FDCB68A50}"/>
              </a:ext>
            </a:extLst>
          </p:cNvPr>
          <p:cNvSpPr>
            <a:spLocks noGrp="1"/>
          </p:cNvSpPr>
          <p:nvPr>
            <p:ph type="dt" sz="half" idx="10"/>
          </p:nvPr>
        </p:nvSpPr>
        <p:spPr>
          <a:xfrm>
            <a:off x="838200" y="6356351"/>
            <a:ext cx="2743200" cy="365125"/>
          </a:xfrm>
          <a:prstGeom prst="rect">
            <a:avLst/>
          </a:prstGeom>
        </p:spPr>
        <p:txBody>
          <a:bodyPr/>
          <a:lstStyle/>
          <a:p>
            <a:r>
              <a:rPr lang="en-US"/>
              <a:t>Date</a:t>
            </a:r>
          </a:p>
        </p:txBody>
      </p:sp>
      <p:sp>
        <p:nvSpPr>
          <p:cNvPr id="13" name="Footer Placeholder 4">
            <a:extLst>
              <a:ext uri="{FF2B5EF4-FFF2-40B4-BE49-F238E27FC236}">
                <a16:creationId xmlns:a16="http://schemas.microsoft.com/office/drawing/2014/main" id="{854C03DC-D27B-4334-B9C0-FE0B3C2E5722}"/>
              </a:ext>
            </a:extLst>
          </p:cNvPr>
          <p:cNvSpPr>
            <a:spLocks noGrp="1"/>
          </p:cNvSpPr>
          <p:nvPr>
            <p:ph type="ftr" sz="quarter" idx="11"/>
          </p:nvPr>
        </p:nvSpPr>
        <p:spPr>
          <a:xfrm>
            <a:off x="4038600" y="6356351"/>
            <a:ext cx="4114800" cy="365125"/>
          </a:xfrm>
          <a:prstGeom prst="rect">
            <a:avLst/>
          </a:prstGeom>
        </p:spPr>
        <p:txBody>
          <a:bodyPr/>
          <a:lstStyle/>
          <a:p>
            <a:r>
              <a:rPr lang="en-US"/>
              <a:t>Your Footer Here</a:t>
            </a:r>
          </a:p>
        </p:txBody>
      </p:sp>
      <p:sp>
        <p:nvSpPr>
          <p:cNvPr id="14" name="Slide Number Placeholder 5">
            <a:extLst>
              <a:ext uri="{FF2B5EF4-FFF2-40B4-BE49-F238E27FC236}">
                <a16:creationId xmlns:a16="http://schemas.microsoft.com/office/drawing/2014/main" id="{71518FF9-282A-4BBA-A731-44ABDF5A3329}"/>
              </a:ext>
            </a:extLst>
          </p:cNvPr>
          <p:cNvSpPr>
            <a:spLocks noGrp="1"/>
          </p:cNvSpPr>
          <p:nvPr>
            <p:ph type="sldNum" sz="quarter" idx="12"/>
          </p:nvPr>
        </p:nvSpPr>
        <p:spPr>
          <a:xfrm>
            <a:off x="8610600" y="6356351"/>
            <a:ext cx="2743200" cy="365125"/>
          </a:xfrm>
          <a:prstGeom prst="rect">
            <a:avLst/>
          </a:prstGeom>
        </p:spPr>
        <p:txBody>
          <a:bodyPr/>
          <a:lstStyle/>
          <a:p>
            <a:fld id="{9319E888-69DF-4A19-BF5D-F6CF70DE7D06}" type="slidenum">
              <a:rPr lang="en-US" smtClean="0"/>
              <a:t>‹#›</a:t>
            </a:fld>
            <a:endParaRPr lang="en-US"/>
          </a:p>
        </p:txBody>
      </p:sp>
      <p:sp>
        <p:nvSpPr>
          <p:cNvPr id="19" name="Freeform 18">
            <a:extLst>
              <a:ext uri="{FF2B5EF4-FFF2-40B4-BE49-F238E27FC236}">
                <a16:creationId xmlns:a16="http://schemas.microsoft.com/office/drawing/2014/main" id="{998EB654-421B-DC49-AFA3-62E975B5DBE5}"/>
              </a:ext>
            </a:extLst>
          </p:cNvPr>
          <p:cNvSpPr>
            <a:spLocks noGrp="1"/>
          </p:cNvSpPr>
          <p:nvPr>
            <p:ph type="pic" sz="quarter" idx="13"/>
          </p:nvPr>
        </p:nvSpPr>
        <p:spPr>
          <a:xfrm>
            <a:off x="1" y="1475365"/>
            <a:ext cx="4657036" cy="4787378"/>
          </a:xfrm>
          <a:custGeom>
            <a:avLst/>
            <a:gdLst>
              <a:gd name="connsiteX0" fmla="*/ 1099198 w 3492777"/>
              <a:gd name="connsiteY0" fmla="*/ 0 h 4787378"/>
              <a:gd name="connsiteX1" fmla="*/ 1372838 w 3492777"/>
              <a:gd name="connsiteY1" fmla="*/ 113299 h 4787378"/>
              <a:gd name="connsiteX2" fmla="*/ 3379382 w 3492777"/>
              <a:gd name="connsiteY2" fmla="*/ 2119925 h 4787378"/>
              <a:gd name="connsiteX3" fmla="*/ 3379382 w 3492777"/>
              <a:gd name="connsiteY3" fmla="*/ 2667453 h 4787378"/>
              <a:gd name="connsiteX4" fmla="*/ 1372838 w 3492777"/>
              <a:gd name="connsiteY4" fmla="*/ 4674079 h 4787378"/>
              <a:gd name="connsiteX5" fmla="*/ 825436 w 3492777"/>
              <a:gd name="connsiteY5" fmla="*/ 4674079 h 4787378"/>
              <a:gd name="connsiteX6" fmla="*/ 0 w 3492777"/>
              <a:gd name="connsiteY6" fmla="*/ 3848510 h 4787378"/>
              <a:gd name="connsiteX7" fmla="*/ 0 w 3492777"/>
              <a:gd name="connsiteY7" fmla="*/ 938868 h 4787378"/>
              <a:gd name="connsiteX8" fmla="*/ 825436 w 3492777"/>
              <a:gd name="connsiteY8" fmla="*/ 113299 h 4787378"/>
              <a:gd name="connsiteX9" fmla="*/ 1099198 w 3492777"/>
              <a:gd name="connsiteY9" fmla="*/ 0 h 478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2777" h="4787378">
                <a:moveTo>
                  <a:pt x="1099198" y="0"/>
                </a:moveTo>
                <a:cubicBezTo>
                  <a:pt x="1198271" y="0"/>
                  <a:pt x="1297323" y="37766"/>
                  <a:pt x="1372838" y="113299"/>
                </a:cubicBezTo>
                <a:lnTo>
                  <a:pt x="3379382" y="2119925"/>
                </a:lnTo>
                <a:cubicBezTo>
                  <a:pt x="3530576" y="2271216"/>
                  <a:pt x="3530576" y="2516162"/>
                  <a:pt x="3379382" y="2667453"/>
                </a:cubicBezTo>
                <a:lnTo>
                  <a:pt x="1372838" y="4674079"/>
                </a:lnTo>
                <a:cubicBezTo>
                  <a:pt x="1221808" y="4825145"/>
                  <a:pt x="976629" y="4825145"/>
                  <a:pt x="825436" y="4674079"/>
                </a:cubicBezTo>
                <a:lnTo>
                  <a:pt x="0" y="3848510"/>
                </a:lnTo>
                <a:lnTo>
                  <a:pt x="0" y="938868"/>
                </a:lnTo>
                <a:lnTo>
                  <a:pt x="825436" y="113299"/>
                </a:lnTo>
                <a:cubicBezTo>
                  <a:pt x="901032" y="37766"/>
                  <a:pt x="1000126" y="0"/>
                  <a:pt x="1099198" y="0"/>
                </a:cubicBezTo>
                <a:close/>
              </a:path>
            </a:pathLst>
          </a:custGeom>
          <a:solidFill>
            <a:schemeClr val="accent1">
              <a:lumMod val="60000"/>
              <a:lumOff val="40000"/>
            </a:schemeClr>
          </a:solidFill>
        </p:spPr>
        <p:txBody>
          <a:bodyPr wrap="square" anchor="ctr">
            <a:noAutofit/>
          </a:bodyP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21037174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D50C5D3F-D537-A847-A5D3-E5CFBE778BD3}"/>
              </a:ext>
            </a:extLst>
          </p:cNvPr>
          <p:cNvSpPr/>
          <p:nvPr userDrawn="1"/>
        </p:nvSpPr>
        <p:spPr>
          <a:xfrm>
            <a:off x="0" y="1"/>
            <a:ext cx="6296659" cy="6891023"/>
          </a:xfrm>
          <a:custGeom>
            <a:avLst/>
            <a:gdLst/>
            <a:ahLst/>
            <a:cxnLst>
              <a:cxn ang="0">
                <a:pos x="wd2" y="hd2"/>
              </a:cxn>
              <a:cxn ang="5400000">
                <a:pos x="wd2" y="hd2"/>
              </a:cxn>
              <a:cxn ang="10800000">
                <a:pos x="wd2" y="hd2"/>
              </a:cxn>
              <a:cxn ang="16200000">
                <a:pos x="wd2" y="hd2"/>
              </a:cxn>
            </a:cxnLst>
            <a:rect l="0" t="0" r="r" b="b"/>
            <a:pathLst>
              <a:path w="21396" h="21600" extrusionOk="0">
                <a:moveTo>
                  <a:pt x="18418" y="21600"/>
                </a:moveTo>
                <a:lnTo>
                  <a:pt x="20783" y="19868"/>
                </a:lnTo>
                <a:cubicBezTo>
                  <a:pt x="21600" y="19303"/>
                  <a:pt x="21600" y="18391"/>
                  <a:pt x="20783" y="17826"/>
                </a:cubicBezTo>
                <a:lnTo>
                  <a:pt x="14724" y="13634"/>
                </a:lnTo>
                <a:cubicBezTo>
                  <a:pt x="13907" y="13069"/>
                  <a:pt x="13907" y="12157"/>
                  <a:pt x="14724" y="11592"/>
                </a:cubicBezTo>
                <a:lnTo>
                  <a:pt x="20783" y="7400"/>
                </a:lnTo>
                <a:cubicBezTo>
                  <a:pt x="21600" y="6835"/>
                  <a:pt x="21600" y="5923"/>
                  <a:pt x="20783" y="5358"/>
                </a:cubicBezTo>
                <a:lnTo>
                  <a:pt x="12768" y="0"/>
                </a:lnTo>
                <a:lnTo>
                  <a:pt x="0" y="0"/>
                </a:lnTo>
                <a:lnTo>
                  <a:pt x="0" y="10219"/>
                </a:lnTo>
                <a:lnTo>
                  <a:pt x="0" y="15008"/>
                </a:lnTo>
                <a:lnTo>
                  <a:pt x="0" y="21600"/>
                </a:lnTo>
                <a:lnTo>
                  <a:pt x="18418" y="2160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sz="3000"/>
          </a:p>
        </p:txBody>
      </p:sp>
      <p:sp>
        <p:nvSpPr>
          <p:cNvPr id="10" name="Title 1">
            <a:extLst>
              <a:ext uri="{FF2B5EF4-FFF2-40B4-BE49-F238E27FC236}">
                <a16:creationId xmlns:a16="http://schemas.microsoft.com/office/drawing/2014/main" id="{1E401285-0A6E-4F70-86DB-227CB70FE112}"/>
              </a:ext>
            </a:extLst>
          </p:cNvPr>
          <p:cNvSpPr>
            <a:spLocks noGrp="1"/>
          </p:cNvSpPr>
          <p:nvPr>
            <p:ph type="title"/>
          </p:nvPr>
        </p:nvSpPr>
        <p:spPr>
          <a:xfrm>
            <a:off x="6663278" y="266701"/>
            <a:ext cx="4684173" cy="4295775"/>
          </a:xfrm>
          <a:prstGeom prst="rect">
            <a:avLst/>
          </a:prstGeom>
        </p:spPr>
        <p:txBody>
          <a:bodyPr anchor="b"/>
          <a:lstStyle>
            <a:lvl1pPr>
              <a:defRPr sz="6000"/>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4A11A794-A338-4A3D-A44B-9F224F209EE9}"/>
              </a:ext>
            </a:extLst>
          </p:cNvPr>
          <p:cNvSpPr>
            <a:spLocks noGrp="1"/>
          </p:cNvSpPr>
          <p:nvPr>
            <p:ph type="body" idx="1"/>
          </p:nvPr>
        </p:nvSpPr>
        <p:spPr>
          <a:xfrm>
            <a:off x="6663278" y="4589464"/>
            <a:ext cx="4684173"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Date Placeholder 3">
            <a:extLst>
              <a:ext uri="{FF2B5EF4-FFF2-40B4-BE49-F238E27FC236}">
                <a16:creationId xmlns:a16="http://schemas.microsoft.com/office/drawing/2014/main" id="{F084121D-C173-41BF-A8BF-A7307C52D566}"/>
              </a:ext>
            </a:extLst>
          </p:cNvPr>
          <p:cNvSpPr>
            <a:spLocks noGrp="1"/>
          </p:cNvSpPr>
          <p:nvPr>
            <p:ph type="dt" sz="half" idx="10"/>
          </p:nvPr>
        </p:nvSpPr>
        <p:spPr>
          <a:xfrm>
            <a:off x="838200" y="6356351"/>
            <a:ext cx="2743200" cy="365125"/>
          </a:xfrm>
          <a:prstGeom prst="rect">
            <a:avLst/>
          </a:prstGeom>
        </p:spPr>
        <p:txBody>
          <a:bodyPr/>
          <a:lstStyle/>
          <a:p>
            <a:r>
              <a:rPr lang="en-US"/>
              <a:t>Date</a:t>
            </a:r>
          </a:p>
        </p:txBody>
      </p:sp>
      <p:sp>
        <p:nvSpPr>
          <p:cNvPr id="13" name="Footer Placeholder 4">
            <a:extLst>
              <a:ext uri="{FF2B5EF4-FFF2-40B4-BE49-F238E27FC236}">
                <a16:creationId xmlns:a16="http://schemas.microsoft.com/office/drawing/2014/main" id="{D7E377AD-FE2F-4ACD-975A-1CA31E6EAF7F}"/>
              </a:ext>
            </a:extLst>
          </p:cNvPr>
          <p:cNvSpPr>
            <a:spLocks noGrp="1"/>
          </p:cNvSpPr>
          <p:nvPr>
            <p:ph type="ftr" sz="quarter" idx="11"/>
          </p:nvPr>
        </p:nvSpPr>
        <p:spPr>
          <a:xfrm>
            <a:off x="4038600" y="6356351"/>
            <a:ext cx="4114800" cy="365125"/>
          </a:xfrm>
          <a:prstGeom prst="rect">
            <a:avLst/>
          </a:prstGeom>
        </p:spPr>
        <p:txBody>
          <a:bodyPr/>
          <a:lstStyle/>
          <a:p>
            <a:r>
              <a:rPr lang="en-US"/>
              <a:t>Your Footer Here</a:t>
            </a:r>
          </a:p>
        </p:txBody>
      </p:sp>
      <p:sp>
        <p:nvSpPr>
          <p:cNvPr id="14" name="Slide Number Placeholder 5">
            <a:extLst>
              <a:ext uri="{FF2B5EF4-FFF2-40B4-BE49-F238E27FC236}">
                <a16:creationId xmlns:a16="http://schemas.microsoft.com/office/drawing/2014/main" id="{8DD8FB59-3532-4BA9-BBBF-A18CF50441F8}"/>
              </a:ext>
            </a:extLst>
          </p:cNvPr>
          <p:cNvSpPr>
            <a:spLocks noGrp="1"/>
          </p:cNvSpPr>
          <p:nvPr>
            <p:ph type="sldNum" sz="quarter" idx="12"/>
          </p:nvPr>
        </p:nvSpPr>
        <p:spPr>
          <a:xfrm>
            <a:off x="8610600" y="6356351"/>
            <a:ext cx="2743200" cy="365125"/>
          </a:xfrm>
          <a:prstGeom prst="rect">
            <a:avLst/>
          </a:prstGeom>
        </p:spPr>
        <p:txBody>
          <a:bodyPr/>
          <a:lstStyle/>
          <a:p>
            <a:fld id="{9319E888-69DF-4A19-BF5D-F6CF70DE7D06}" type="slidenum">
              <a:rPr lang="en-US" smtClean="0"/>
              <a:t>‹#›</a:t>
            </a:fld>
            <a:endParaRPr lang="en-US"/>
          </a:p>
        </p:txBody>
      </p:sp>
      <p:sp>
        <p:nvSpPr>
          <p:cNvPr id="17" name="Shape">
            <a:extLst>
              <a:ext uri="{FF2B5EF4-FFF2-40B4-BE49-F238E27FC236}">
                <a16:creationId xmlns:a16="http://schemas.microsoft.com/office/drawing/2014/main" id="{BCD1063D-3D89-A040-AB32-47CE80119479}"/>
              </a:ext>
            </a:extLst>
          </p:cNvPr>
          <p:cNvSpPr/>
          <p:nvPr userDrawn="1"/>
        </p:nvSpPr>
        <p:spPr>
          <a:xfrm>
            <a:off x="-16931" y="0"/>
            <a:ext cx="3640252" cy="4063690"/>
          </a:xfrm>
          <a:custGeom>
            <a:avLst/>
            <a:gdLst/>
            <a:ahLst/>
            <a:cxnLst>
              <a:cxn ang="0">
                <a:pos x="wd2" y="hd2"/>
              </a:cxn>
              <a:cxn ang="5400000">
                <a:pos x="wd2" y="hd2"/>
              </a:cxn>
              <a:cxn ang="10800000">
                <a:pos x="wd2" y="hd2"/>
              </a:cxn>
              <a:cxn ang="16200000">
                <a:pos x="wd2" y="hd2"/>
              </a:cxn>
            </a:cxnLst>
            <a:rect l="0" t="0" r="r" b="b"/>
            <a:pathLst>
              <a:path w="21349" h="21431" extrusionOk="0">
                <a:moveTo>
                  <a:pt x="2393" y="717"/>
                </a:moveTo>
                <a:lnTo>
                  <a:pt x="0" y="2451"/>
                </a:lnTo>
                <a:lnTo>
                  <a:pt x="0" y="18472"/>
                </a:lnTo>
                <a:lnTo>
                  <a:pt x="3635" y="20924"/>
                </a:lnTo>
                <a:cubicBezTo>
                  <a:pt x="4638" y="21600"/>
                  <a:pt x="6266" y="21600"/>
                  <a:pt x="7270" y="20924"/>
                </a:cubicBezTo>
                <a:lnTo>
                  <a:pt x="20597" y="11935"/>
                </a:lnTo>
                <a:cubicBezTo>
                  <a:pt x="21600" y="11259"/>
                  <a:pt x="21600" y="10160"/>
                  <a:pt x="20597" y="9484"/>
                </a:cubicBezTo>
                <a:lnTo>
                  <a:pt x="7160" y="636"/>
                </a:lnTo>
                <a:cubicBezTo>
                  <a:pt x="6535" y="228"/>
                  <a:pt x="5710" y="0"/>
                  <a:pt x="4836" y="0"/>
                </a:cubicBezTo>
                <a:lnTo>
                  <a:pt x="4836" y="0"/>
                </a:lnTo>
                <a:cubicBezTo>
                  <a:pt x="3903" y="7"/>
                  <a:pt x="3019" y="261"/>
                  <a:pt x="2393" y="717"/>
                </a:cubicBez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
        <p:nvSpPr>
          <p:cNvPr id="18" name="Text Placeholder 17">
            <a:extLst>
              <a:ext uri="{FF2B5EF4-FFF2-40B4-BE49-F238E27FC236}">
                <a16:creationId xmlns:a16="http://schemas.microsoft.com/office/drawing/2014/main" id="{88B00100-82A6-46DB-AB35-5266F91AE755}"/>
              </a:ext>
            </a:extLst>
          </p:cNvPr>
          <p:cNvSpPr>
            <a:spLocks noGrp="1"/>
          </p:cNvSpPr>
          <p:nvPr>
            <p:ph type="body" sz="quarter" idx="14" hasCustomPrompt="1"/>
          </p:nvPr>
        </p:nvSpPr>
        <p:spPr>
          <a:xfrm>
            <a:off x="1100532" y="4291216"/>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Name</a:t>
            </a:r>
          </a:p>
        </p:txBody>
      </p:sp>
      <p:sp>
        <p:nvSpPr>
          <p:cNvPr id="19" name="Text Placeholder 17">
            <a:extLst>
              <a:ext uri="{FF2B5EF4-FFF2-40B4-BE49-F238E27FC236}">
                <a16:creationId xmlns:a16="http://schemas.microsoft.com/office/drawing/2014/main" id="{CCE23A20-9D3A-4A2C-8AD2-D6BCBFFE8052}"/>
              </a:ext>
            </a:extLst>
          </p:cNvPr>
          <p:cNvSpPr>
            <a:spLocks noGrp="1"/>
          </p:cNvSpPr>
          <p:nvPr>
            <p:ph type="body" sz="quarter" idx="15" hasCustomPrompt="1"/>
          </p:nvPr>
        </p:nvSpPr>
        <p:spPr>
          <a:xfrm>
            <a:off x="1100532" y="4521284"/>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obile / email</a:t>
            </a:r>
          </a:p>
        </p:txBody>
      </p:sp>
      <p:sp>
        <p:nvSpPr>
          <p:cNvPr id="20" name="Text Placeholder 17">
            <a:extLst>
              <a:ext uri="{FF2B5EF4-FFF2-40B4-BE49-F238E27FC236}">
                <a16:creationId xmlns:a16="http://schemas.microsoft.com/office/drawing/2014/main" id="{7686557C-B6EC-41CF-A5C6-C78D6675CEFD}"/>
              </a:ext>
            </a:extLst>
          </p:cNvPr>
          <p:cNvSpPr>
            <a:spLocks noGrp="1"/>
          </p:cNvSpPr>
          <p:nvPr>
            <p:ph type="body" sz="quarter" idx="16" hasCustomPrompt="1"/>
          </p:nvPr>
        </p:nvSpPr>
        <p:spPr>
          <a:xfrm>
            <a:off x="1100532" y="4751352"/>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ompany</a:t>
            </a:r>
          </a:p>
        </p:txBody>
      </p:sp>
      <p:sp>
        <p:nvSpPr>
          <p:cNvPr id="23" name="Freeform 22">
            <a:extLst>
              <a:ext uri="{FF2B5EF4-FFF2-40B4-BE49-F238E27FC236}">
                <a16:creationId xmlns:a16="http://schemas.microsoft.com/office/drawing/2014/main" id="{6825A7C0-7333-BB4A-A978-9BE21DDB9377}"/>
              </a:ext>
            </a:extLst>
          </p:cNvPr>
          <p:cNvSpPr>
            <a:spLocks noGrp="1"/>
          </p:cNvSpPr>
          <p:nvPr>
            <p:ph type="pic" sz="quarter" idx="13"/>
          </p:nvPr>
        </p:nvSpPr>
        <p:spPr>
          <a:xfrm>
            <a:off x="677271" y="1"/>
            <a:ext cx="5421092" cy="4063689"/>
          </a:xfrm>
          <a:custGeom>
            <a:avLst/>
            <a:gdLst>
              <a:gd name="connsiteX0" fmla="*/ 1952988 w 4065819"/>
              <a:gd name="connsiteY0" fmla="*/ 0 h 4063689"/>
              <a:gd name="connsiteX1" fmla="*/ 2251263 w 4065819"/>
              <a:gd name="connsiteY1" fmla="*/ 120597 h 4063689"/>
              <a:gd name="connsiteX2" fmla="*/ 3969597 w 4065819"/>
              <a:gd name="connsiteY2" fmla="*/ 1798331 h 4063689"/>
              <a:gd name="connsiteX3" fmla="*/ 3969597 w 4065819"/>
              <a:gd name="connsiteY3" fmla="*/ 2263084 h 4063689"/>
              <a:gd name="connsiteX4" fmla="*/ 2265221 w 4065819"/>
              <a:gd name="connsiteY4" fmla="*/ 3967554 h 4063689"/>
              <a:gd name="connsiteX5" fmla="*/ 1800599 w 4065819"/>
              <a:gd name="connsiteY5" fmla="*/ 3967554 h 4063689"/>
              <a:gd name="connsiteX6" fmla="*/ 96223 w 4065819"/>
              <a:gd name="connsiteY6" fmla="*/ 2263084 h 4063689"/>
              <a:gd name="connsiteX7" fmla="*/ 96223 w 4065819"/>
              <a:gd name="connsiteY7" fmla="*/ 1798331 h 4063689"/>
              <a:gd name="connsiteX8" fmla="*/ 1641710 w 4065819"/>
              <a:gd name="connsiteY8" fmla="*/ 135956 h 4063689"/>
              <a:gd name="connsiteX9" fmla="*/ 1952988 w 4065819"/>
              <a:gd name="connsiteY9" fmla="*/ 0 h 406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5819" h="4063689">
                <a:moveTo>
                  <a:pt x="1952988" y="0"/>
                </a:moveTo>
                <a:cubicBezTo>
                  <a:pt x="2063311" y="0"/>
                  <a:pt x="2170002" y="43233"/>
                  <a:pt x="2251263" y="120597"/>
                </a:cubicBezTo>
                <a:lnTo>
                  <a:pt x="3969597" y="1798331"/>
                </a:lnTo>
                <a:cubicBezTo>
                  <a:pt x="4097894" y="1926513"/>
                  <a:pt x="4097894" y="2134902"/>
                  <a:pt x="3969597" y="2263084"/>
                </a:cubicBezTo>
                <a:lnTo>
                  <a:pt x="2265221" y="3967554"/>
                </a:lnTo>
                <a:cubicBezTo>
                  <a:pt x="2137115" y="4095735"/>
                  <a:pt x="1928705" y="4095735"/>
                  <a:pt x="1800599" y="3967554"/>
                </a:cubicBezTo>
                <a:lnTo>
                  <a:pt x="96223" y="2263084"/>
                </a:lnTo>
                <a:cubicBezTo>
                  <a:pt x="-32074" y="2134902"/>
                  <a:pt x="-32074" y="1926513"/>
                  <a:pt x="96223" y="1798331"/>
                </a:cubicBezTo>
                <a:lnTo>
                  <a:pt x="1641710" y="135956"/>
                </a:lnTo>
                <a:cubicBezTo>
                  <a:pt x="1721824" y="49490"/>
                  <a:pt x="1834825" y="0"/>
                  <a:pt x="1952988" y="0"/>
                </a:cubicBezTo>
                <a:close/>
              </a:path>
            </a:pathLst>
          </a:custGeom>
          <a:solidFill>
            <a:schemeClr val="accent1">
              <a:lumMod val="60000"/>
              <a:lumOff val="40000"/>
            </a:schemeClr>
          </a:solidFill>
        </p:spPr>
        <p:txBody>
          <a:bodyPr wrap="square" anchor="ctr">
            <a:noAutofit/>
          </a:bodyP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13722570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35AA68-F172-4A78-B889-683911552A47}"/>
              </a:ext>
            </a:extLst>
          </p:cNvPr>
          <p:cNvGraphicFramePr>
            <a:graphicFrameLocks noChangeAspect="1"/>
          </p:cNvGraphicFramePr>
          <p:nvPr userDrawn="1">
            <p:custDataLst>
              <p:tags r:id="rId1"/>
            </p:custDataLst>
            <p:extLst>
              <p:ext uri="{D42A27DB-BD31-4B8C-83A1-F6EECF244321}">
                <p14:modId xmlns:p14="http://schemas.microsoft.com/office/powerpoint/2010/main" val="163111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7F35AA68-F172-4A78-B889-683911552A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72F155-0712-4AE2-8211-2F0289E5D92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TextBox 6">
            <a:extLst>
              <a:ext uri="{FF2B5EF4-FFF2-40B4-BE49-F238E27FC236}">
                <a16:creationId xmlns:a16="http://schemas.microsoft.com/office/drawing/2014/main" id="{2881859F-6E04-4E0C-8AFF-FDA759EFDF71}"/>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C0FA5208-0DCA-40B3-B82C-C58053861BF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09377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lor and Typography">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D64FDF5F-B87A-48FB-8836-28911241AE1C}"/>
              </a:ext>
            </a:extLst>
          </p:cNvPr>
          <p:cNvSpPr>
            <a:spLocks noGrp="1"/>
          </p:cNvSpPr>
          <p:nvPr>
            <p:ph type="title"/>
          </p:nvPr>
        </p:nvSpPr>
        <p:spPr>
          <a:xfrm>
            <a:off x="838200" y="365126"/>
            <a:ext cx="10515600" cy="1325563"/>
          </a:xfrm>
          <a:prstGeom prst="rect">
            <a:avLst/>
          </a:prstGeo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DC858C0-70A5-4521-A1D8-C1DA8BB60EF0}"/>
              </a:ext>
            </a:extLst>
          </p:cNvPr>
          <p:cNvSpPr>
            <a:spLocks noGrp="1"/>
          </p:cNvSpPr>
          <p:nvPr>
            <p:ph type="body" sz="quarter" idx="10"/>
          </p:nvPr>
        </p:nvSpPr>
        <p:spPr>
          <a:xfrm>
            <a:off x="838201" y="3709150"/>
            <a:ext cx="10515599" cy="1325880"/>
          </a:xfrm>
          <a:prstGeom prst="rect">
            <a:avLst/>
          </a:prstGeom>
        </p:spPr>
        <p:txBody>
          <a:bodyPr vert="horz" lIns="91440" tIns="45720" rIns="91440" bIns="45720" rtlCol="0" anchor="ctr">
            <a:normAutofit/>
          </a:bodyPr>
          <a:lstStyle>
            <a:lvl1pPr marL="0" indent="0">
              <a:buNone/>
              <a:defRPr lang="en-US" sz="4400" dirty="0" smtClean="0">
                <a:ln w="3175" cmpd="sng">
                  <a:noFill/>
                </a:ln>
                <a:latin typeface="+mj-lt"/>
                <a:ea typeface="+mj-ea"/>
              </a:defRPr>
            </a:lvl1pPr>
            <a:lvl2pPr>
              <a:defRPr lang="en-US" dirty="0" smtClean="0"/>
            </a:lvl2pPr>
            <a:lvl3pPr>
              <a:defRPr lang="en-US" dirty="0" smtClean="0"/>
            </a:lvl3pPr>
            <a:lvl4pPr>
              <a:defRPr lang="en-US" dirty="0" smtClean="0"/>
            </a:lvl4pPr>
            <a:lvl5pPr>
              <a:defRPr lang="en-US" dirty="0"/>
            </a:lvl5pPr>
          </a:lstStyle>
          <a:p>
            <a:pPr marL="228600" lvl="0" indent="-228600">
              <a:spcBef>
                <a:spcPct val="0"/>
              </a:spcBef>
            </a:pPr>
            <a:r>
              <a:rPr lang="en-US"/>
              <a:t>Click to edit Master text styles</a:t>
            </a:r>
          </a:p>
        </p:txBody>
      </p:sp>
      <p:sp>
        <p:nvSpPr>
          <p:cNvPr id="5" name="TextBox 4">
            <a:extLst>
              <a:ext uri="{FF2B5EF4-FFF2-40B4-BE49-F238E27FC236}">
                <a16:creationId xmlns:a16="http://schemas.microsoft.com/office/drawing/2014/main" id="{D268C047-D4C6-4716-A78B-EE5000FD1F52}"/>
              </a:ext>
            </a:extLst>
          </p:cNvPr>
          <p:cNvSpPr txBox="1"/>
          <p:nvPr userDrawn="1"/>
        </p:nvSpPr>
        <p:spPr>
          <a:xfrm>
            <a:off x="4610155" y="4033186"/>
            <a:ext cx="2435282" cy="2646878"/>
          </a:xfrm>
          <a:prstGeom prst="rect">
            <a:avLst/>
          </a:prstGeom>
          <a:noFill/>
        </p:spPr>
        <p:txBody>
          <a:bodyPr wrap="none" rtlCol="0">
            <a:spAutoFit/>
          </a:bodyPr>
          <a:lstStyle/>
          <a:p>
            <a:pPr algn="ctr"/>
            <a:r>
              <a:rPr lang="en-US" sz="16600" dirty="0"/>
              <a:t>Aa</a:t>
            </a:r>
          </a:p>
        </p:txBody>
      </p:sp>
      <p:sp>
        <p:nvSpPr>
          <p:cNvPr id="8" name="Text Placeholder 7">
            <a:extLst>
              <a:ext uri="{FF2B5EF4-FFF2-40B4-BE49-F238E27FC236}">
                <a16:creationId xmlns:a16="http://schemas.microsoft.com/office/drawing/2014/main" id="{806B303D-5E6A-47BF-AFC1-2852F337BEC7}"/>
              </a:ext>
            </a:extLst>
          </p:cNvPr>
          <p:cNvSpPr>
            <a:spLocks noGrp="1"/>
          </p:cNvSpPr>
          <p:nvPr>
            <p:ph type="body" sz="quarter" idx="11" hasCustomPrompt="1"/>
          </p:nvPr>
        </p:nvSpPr>
        <p:spPr>
          <a:xfrm>
            <a:off x="4231676" y="6125271"/>
            <a:ext cx="3192240" cy="564455"/>
          </a:xfrm>
          <a:prstGeom prst="rect">
            <a:avLst/>
          </a:prstGeom>
        </p:spPr>
        <p:txBody>
          <a:bodyPr anchor="ctr"/>
          <a:lstStyle>
            <a:lvl1pPr marL="0" indent="0" algn="ctr">
              <a:buNone/>
              <a:defRPr/>
            </a:lvl1pPr>
          </a:lstStyle>
          <a:p>
            <a:pPr lvl="0"/>
            <a:r>
              <a:rPr lang="en-US" dirty="0"/>
              <a:t>Font name</a:t>
            </a:r>
          </a:p>
        </p:txBody>
      </p:sp>
      <p:sp>
        <p:nvSpPr>
          <p:cNvPr id="161" name="TextBox 160">
            <a:extLst>
              <a:ext uri="{FF2B5EF4-FFF2-40B4-BE49-F238E27FC236}">
                <a16:creationId xmlns:a16="http://schemas.microsoft.com/office/drawing/2014/main" id="{CE4C982F-2435-454E-964B-6E2FA8DAE509}"/>
              </a:ext>
            </a:extLst>
          </p:cNvPr>
          <p:cNvSpPr txBox="1"/>
          <p:nvPr userDrawn="1"/>
        </p:nvSpPr>
        <p:spPr>
          <a:xfrm>
            <a:off x="8618348" y="4033186"/>
            <a:ext cx="2385589" cy="2646878"/>
          </a:xfrm>
          <a:prstGeom prst="rect">
            <a:avLst/>
          </a:prstGeom>
          <a:noFill/>
        </p:spPr>
        <p:txBody>
          <a:bodyPr wrap="none" rtlCol="0">
            <a:spAutoFit/>
          </a:bodyPr>
          <a:lstStyle/>
          <a:p>
            <a:pPr algn="ctr"/>
            <a:r>
              <a:rPr lang="en-US" sz="16600" dirty="0">
                <a:latin typeface="+mj-lt"/>
              </a:rPr>
              <a:t>Aa</a:t>
            </a:r>
          </a:p>
        </p:txBody>
      </p:sp>
      <p:sp>
        <p:nvSpPr>
          <p:cNvPr id="162" name="Text Placeholder 7">
            <a:extLst>
              <a:ext uri="{FF2B5EF4-FFF2-40B4-BE49-F238E27FC236}">
                <a16:creationId xmlns:a16="http://schemas.microsoft.com/office/drawing/2014/main" id="{D8C94DFA-96D0-4436-B11B-F4ECD914841B}"/>
              </a:ext>
            </a:extLst>
          </p:cNvPr>
          <p:cNvSpPr>
            <a:spLocks noGrp="1"/>
          </p:cNvSpPr>
          <p:nvPr>
            <p:ph type="body" sz="quarter" idx="12" hasCustomPrompt="1"/>
          </p:nvPr>
        </p:nvSpPr>
        <p:spPr>
          <a:xfrm>
            <a:off x="8215023" y="6125271"/>
            <a:ext cx="3192240" cy="564455"/>
          </a:xfrm>
          <a:prstGeom prst="rect">
            <a:avLst/>
          </a:prstGeom>
        </p:spPr>
        <p:txBody>
          <a:bodyPr anchor="ctr"/>
          <a:lstStyle>
            <a:lvl1pPr marL="0" indent="0" algn="ctr">
              <a:buNone/>
              <a:defRPr>
                <a:latin typeface="Calibri Light" panose="020F0302020204030204" pitchFamily="34" charset="0"/>
                <a:cs typeface="Calibri Light" panose="020F0302020204030204" pitchFamily="34" charset="0"/>
              </a:defRPr>
            </a:lvl1pPr>
          </a:lstStyle>
          <a:p>
            <a:pPr lvl="0"/>
            <a:r>
              <a:rPr lang="en-US" dirty="0"/>
              <a:t>Font name</a:t>
            </a:r>
          </a:p>
        </p:txBody>
      </p:sp>
      <p:grpSp>
        <p:nvGrpSpPr>
          <p:cNvPr id="2" name="Group 1">
            <a:extLst>
              <a:ext uri="{FF2B5EF4-FFF2-40B4-BE49-F238E27FC236}">
                <a16:creationId xmlns:a16="http://schemas.microsoft.com/office/drawing/2014/main" id="{26475A9A-CDDE-42D3-A31B-0620B825F2A0}"/>
              </a:ext>
            </a:extLst>
          </p:cNvPr>
          <p:cNvGrpSpPr/>
          <p:nvPr userDrawn="1"/>
        </p:nvGrpSpPr>
        <p:grpSpPr>
          <a:xfrm>
            <a:off x="838200" y="1946104"/>
            <a:ext cx="10521696" cy="1481328"/>
            <a:chOff x="628650" y="1946104"/>
            <a:chExt cx="7891272" cy="1481328"/>
          </a:xfrm>
        </p:grpSpPr>
        <p:sp>
          <p:nvSpPr>
            <p:cNvPr id="83" name="Rectangle 82">
              <a:extLst>
                <a:ext uri="{FF2B5EF4-FFF2-40B4-BE49-F238E27FC236}">
                  <a16:creationId xmlns:a16="http://schemas.microsoft.com/office/drawing/2014/main" id="{4D825DDC-B1B7-4A22-AE1A-DFFE8C468588}"/>
                </a:ext>
              </a:extLst>
            </p:cNvPr>
            <p:cNvSpPr/>
            <p:nvPr userDrawn="1"/>
          </p:nvSpPr>
          <p:spPr>
            <a:xfrm>
              <a:off x="628650" y="1946104"/>
              <a:ext cx="671123" cy="148132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4" name="Rectangle 83">
              <a:extLst>
                <a:ext uri="{FF2B5EF4-FFF2-40B4-BE49-F238E27FC236}">
                  <a16:creationId xmlns:a16="http://schemas.microsoft.com/office/drawing/2014/main" id="{CAC08C7C-E3C9-4D9C-80B0-16E41E85987D}"/>
                </a:ext>
              </a:extLst>
            </p:cNvPr>
            <p:cNvSpPr/>
            <p:nvPr userDrawn="1"/>
          </p:nvSpPr>
          <p:spPr>
            <a:xfrm>
              <a:off x="628650" y="1946104"/>
              <a:ext cx="671123" cy="13198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5" name="Rectangle 84">
              <a:extLst>
                <a:ext uri="{FF2B5EF4-FFF2-40B4-BE49-F238E27FC236}">
                  <a16:creationId xmlns:a16="http://schemas.microsoft.com/office/drawing/2014/main" id="{BA49656F-2DAE-40AB-AA90-DB2938FC49AC}"/>
                </a:ext>
              </a:extLst>
            </p:cNvPr>
            <p:cNvSpPr/>
            <p:nvPr userDrawn="1"/>
          </p:nvSpPr>
          <p:spPr>
            <a:xfrm>
              <a:off x="628650" y="1946104"/>
              <a:ext cx="671123" cy="1158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6" name="Rectangle 85">
              <a:extLst>
                <a:ext uri="{FF2B5EF4-FFF2-40B4-BE49-F238E27FC236}">
                  <a16:creationId xmlns:a16="http://schemas.microsoft.com/office/drawing/2014/main" id="{DCD712ED-28B0-410A-9BD1-7616FBF74042}"/>
                </a:ext>
              </a:extLst>
            </p:cNvPr>
            <p:cNvSpPr/>
            <p:nvPr userDrawn="1"/>
          </p:nvSpPr>
          <p:spPr>
            <a:xfrm>
              <a:off x="628650" y="1946104"/>
              <a:ext cx="671123" cy="9968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7" name="Rectangle 86">
              <a:extLst>
                <a:ext uri="{FF2B5EF4-FFF2-40B4-BE49-F238E27FC236}">
                  <a16:creationId xmlns:a16="http://schemas.microsoft.com/office/drawing/2014/main" id="{6849DA16-5630-42C0-B032-CF4E4236809C}"/>
                </a:ext>
              </a:extLst>
            </p:cNvPr>
            <p:cNvSpPr/>
            <p:nvPr userDrawn="1"/>
          </p:nvSpPr>
          <p:spPr>
            <a:xfrm>
              <a:off x="628650" y="1946104"/>
              <a:ext cx="671123" cy="835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0" name="Rectangle 159">
              <a:extLst>
                <a:ext uri="{FF2B5EF4-FFF2-40B4-BE49-F238E27FC236}">
                  <a16:creationId xmlns:a16="http://schemas.microsoft.com/office/drawing/2014/main" id="{E6F035CF-B43D-439C-AD0F-8D953B579313}"/>
                </a:ext>
              </a:extLst>
            </p:cNvPr>
            <p:cNvSpPr/>
            <p:nvPr userDrawn="1"/>
          </p:nvSpPr>
          <p:spPr>
            <a:xfrm>
              <a:off x="628651" y="1946104"/>
              <a:ext cx="671123" cy="67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3" name="Rectangle 162">
              <a:extLst>
                <a:ext uri="{FF2B5EF4-FFF2-40B4-BE49-F238E27FC236}">
                  <a16:creationId xmlns:a16="http://schemas.microsoft.com/office/drawing/2014/main" id="{41E5DA4D-2356-4A5A-9A78-37FC3426A8A4}"/>
                </a:ext>
              </a:extLst>
            </p:cNvPr>
            <p:cNvSpPr/>
            <p:nvPr userDrawn="1"/>
          </p:nvSpPr>
          <p:spPr>
            <a:xfrm>
              <a:off x="1430889" y="1946104"/>
              <a:ext cx="671123" cy="148132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4" name="Rectangle 163">
              <a:extLst>
                <a:ext uri="{FF2B5EF4-FFF2-40B4-BE49-F238E27FC236}">
                  <a16:creationId xmlns:a16="http://schemas.microsoft.com/office/drawing/2014/main" id="{94FE7071-946A-4F12-893A-526B25468EB3}"/>
                </a:ext>
              </a:extLst>
            </p:cNvPr>
            <p:cNvSpPr/>
            <p:nvPr userDrawn="1"/>
          </p:nvSpPr>
          <p:spPr>
            <a:xfrm>
              <a:off x="1430889" y="1946104"/>
              <a:ext cx="671123" cy="131983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5" name="Rectangle 164">
              <a:extLst>
                <a:ext uri="{FF2B5EF4-FFF2-40B4-BE49-F238E27FC236}">
                  <a16:creationId xmlns:a16="http://schemas.microsoft.com/office/drawing/2014/main" id="{0B4820EC-57AA-49FD-9B74-B858DD1AE71D}"/>
                </a:ext>
              </a:extLst>
            </p:cNvPr>
            <p:cNvSpPr/>
            <p:nvPr userDrawn="1"/>
          </p:nvSpPr>
          <p:spPr>
            <a:xfrm>
              <a:off x="1430889" y="1946104"/>
              <a:ext cx="671123" cy="115833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6" name="Rectangle 165">
              <a:extLst>
                <a:ext uri="{FF2B5EF4-FFF2-40B4-BE49-F238E27FC236}">
                  <a16:creationId xmlns:a16="http://schemas.microsoft.com/office/drawing/2014/main" id="{829BCA57-159F-4238-A8C6-090DBF3ED9CB}"/>
                </a:ext>
              </a:extLst>
            </p:cNvPr>
            <p:cNvSpPr/>
            <p:nvPr userDrawn="1"/>
          </p:nvSpPr>
          <p:spPr>
            <a:xfrm>
              <a:off x="1430889" y="1946104"/>
              <a:ext cx="671123" cy="99683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7" name="Rectangle 166">
              <a:extLst>
                <a:ext uri="{FF2B5EF4-FFF2-40B4-BE49-F238E27FC236}">
                  <a16:creationId xmlns:a16="http://schemas.microsoft.com/office/drawing/2014/main" id="{220D4EDF-EA25-4D8A-B8A4-0AB513B97627}"/>
                </a:ext>
              </a:extLst>
            </p:cNvPr>
            <p:cNvSpPr/>
            <p:nvPr userDrawn="1"/>
          </p:nvSpPr>
          <p:spPr>
            <a:xfrm>
              <a:off x="1430889" y="1946104"/>
              <a:ext cx="671123" cy="83534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8" name="Rectangle 167">
              <a:extLst>
                <a:ext uri="{FF2B5EF4-FFF2-40B4-BE49-F238E27FC236}">
                  <a16:creationId xmlns:a16="http://schemas.microsoft.com/office/drawing/2014/main" id="{1D4305EB-B3E8-44B7-8B0F-EA03970179FF}"/>
                </a:ext>
              </a:extLst>
            </p:cNvPr>
            <p:cNvSpPr/>
            <p:nvPr userDrawn="1"/>
          </p:nvSpPr>
          <p:spPr>
            <a:xfrm>
              <a:off x="1430889" y="1946104"/>
              <a:ext cx="671123" cy="670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9" name="Rectangle 168">
              <a:extLst>
                <a:ext uri="{FF2B5EF4-FFF2-40B4-BE49-F238E27FC236}">
                  <a16:creationId xmlns:a16="http://schemas.microsoft.com/office/drawing/2014/main" id="{BF0C67D4-85EB-4EE5-AF2E-00FE916B8A04}"/>
                </a:ext>
              </a:extLst>
            </p:cNvPr>
            <p:cNvSpPr/>
            <p:nvPr userDrawn="1"/>
          </p:nvSpPr>
          <p:spPr>
            <a:xfrm>
              <a:off x="2233127" y="1946104"/>
              <a:ext cx="671123" cy="1481328"/>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0" name="Rectangle 169">
              <a:extLst>
                <a:ext uri="{FF2B5EF4-FFF2-40B4-BE49-F238E27FC236}">
                  <a16:creationId xmlns:a16="http://schemas.microsoft.com/office/drawing/2014/main" id="{7BDDFC57-9EC3-437D-B2FC-B6290981C500}"/>
                </a:ext>
              </a:extLst>
            </p:cNvPr>
            <p:cNvSpPr/>
            <p:nvPr userDrawn="1"/>
          </p:nvSpPr>
          <p:spPr>
            <a:xfrm>
              <a:off x="2233127" y="1946104"/>
              <a:ext cx="671123" cy="131983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1" name="Rectangle 170">
              <a:extLst>
                <a:ext uri="{FF2B5EF4-FFF2-40B4-BE49-F238E27FC236}">
                  <a16:creationId xmlns:a16="http://schemas.microsoft.com/office/drawing/2014/main" id="{A6BFD32E-3CA9-47B8-A9E9-842EB47B3C34}"/>
                </a:ext>
              </a:extLst>
            </p:cNvPr>
            <p:cNvSpPr/>
            <p:nvPr userDrawn="1"/>
          </p:nvSpPr>
          <p:spPr>
            <a:xfrm>
              <a:off x="2233127" y="1946104"/>
              <a:ext cx="671123" cy="115833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2" name="Rectangle 171">
              <a:extLst>
                <a:ext uri="{FF2B5EF4-FFF2-40B4-BE49-F238E27FC236}">
                  <a16:creationId xmlns:a16="http://schemas.microsoft.com/office/drawing/2014/main" id="{27F6C923-45B6-4A07-BF72-4EA3A79B94E2}"/>
                </a:ext>
              </a:extLst>
            </p:cNvPr>
            <p:cNvSpPr/>
            <p:nvPr userDrawn="1"/>
          </p:nvSpPr>
          <p:spPr>
            <a:xfrm>
              <a:off x="2233127" y="1946104"/>
              <a:ext cx="671123" cy="99683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3" name="Rectangle 172">
              <a:extLst>
                <a:ext uri="{FF2B5EF4-FFF2-40B4-BE49-F238E27FC236}">
                  <a16:creationId xmlns:a16="http://schemas.microsoft.com/office/drawing/2014/main" id="{6EDAF0FF-ED88-4001-ACE8-F2C99F0F6081}"/>
                </a:ext>
              </a:extLst>
            </p:cNvPr>
            <p:cNvSpPr/>
            <p:nvPr userDrawn="1"/>
          </p:nvSpPr>
          <p:spPr>
            <a:xfrm>
              <a:off x="2233127" y="1946104"/>
              <a:ext cx="671123" cy="8353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4" name="Rectangle 173">
              <a:extLst>
                <a:ext uri="{FF2B5EF4-FFF2-40B4-BE49-F238E27FC236}">
                  <a16:creationId xmlns:a16="http://schemas.microsoft.com/office/drawing/2014/main" id="{9BB3B5D8-C72B-482B-9920-23107B3B85FD}"/>
                </a:ext>
              </a:extLst>
            </p:cNvPr>
            <p:cNvSpPr/>
            <p:nvPr userDrawn="1"/>
          </p:nvSpPr>
          <p:spPr>
            <a:xfrm>
              <a:off x="2233128" y="1946104"/>
              <a:ext cx="671123" cy="670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5" name="Rectangle 174">
              <a:extLst>
                <a:ext uri="{FF2B5EF4-FFF2-40B4-BE49-F238E27FC236}">
                  <a16:creationId xmlns:a16="http://schemas.microsoft.com/office/drawing/2014/main" id="{2547ECFF-5A99-4BDD-9D82-AF7E2BC6ED91}"/>
                </a:ext>
              </a:extLst>
            </p:cNvPr>
            <p:cNvSpPr/>
            <p:nvPr userDrawn="1"/>
          </p:nvSpPr>
          <p:spPr>
            <a:xfrm>
              <a:off x="3035366" y="1946104"/>
              <a:ext cx="671123" cy="148132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6" name="Rectangle 175">
              <a:extLst>
                <a:ext uri="{FF2B5EF4-FFF2-40B4-BE49-F238E27FC236}">
                  <a16:creationId xmlns:a16="http://schemas.microsoft.com/office/drawing/2014/main" id="{D24D3EB6-7B2A-44AF-9F83-2EB304CB9012}"/>
                </a:ext>
              </a:extLst>
            </p:cNvPr>
            <p:cNvSpPr/>
            <p:nvPr userDrawn="1"/>
          </p:nvSpPr>
          <p:spPr>
            <a:xfrm>
              <a:off x="3035366" y="1946104"/>
              <a:ext cx="671123" cy="131983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7" name="Rectangle 176">
              <a:extLst>
                <a:ext uri="{FF2B5EF4-FFF2-40B4-BE49-F238E27FC236}">
                  <a16:creationId xmlns:a16="http://schemas.microsoft.com/office/drawing/2014/main" id="{F473FD6F-105A-4A5E-BB7B-E748A685D5A6}"/>
                </a:ext>
              </a:extLst>
            </p:cNvPr>
            <p:cNvSpPr/>
            <p:nvPr userDrawn="1"/>
          </p:nvSpPr>
          <p:spPr>
            <a:xfrm>
              <a:off x="3035366" y="1946104"/>
              <a:ext cx="671123" cy="115833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8" name="Rectangle 177">
              <a:extLst>
                <a:ext uri="{FF2B5EF4-FFF2-40B4-BE49-F238E27FC236}">
                  <a16:creationId xmlns:a16="http://schemas.microsoft.com/office/drawing/2014/main" id="{3339347A-FF0E-40C7-89C0-36AFFF6F9E77}"/>
                </a:ext>
              </a:extLst>
            </p:cNvPr>
            <p:cNvSpPr/>
            <p:nvPr userDrawn="1"/>
          </p:nvSpPr>
          <p:spPr>
            <a:xfrm>
              <a:off x="3035366" y="1946104"/>
              <a:ext cx="671123" cy="99683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9" name="Rectangle 178">
              <a:extLst>
                <a:ext uri="{FF2B5EF4-FFF2-40B4-BE49-F238E27FC236}">
                  <a16:creationId xmlns:a16="http://schemas.microsoft.com/office/drawing/2014/main" id="{BC367306-AB93-4C38-8042-A2D897E19657}"/>
                </a:ext>
              </a:extLst>
            </p:cNvPr>
            <p:cNvSpPr/>
            <p:nvPr userDrawn="1"/>
          </p:nvSpPr>
          <p:spPr>
            <a:xfrm>
              <a:off x="3035366" y="1946104"/>
              <a:ext cx="671123" cy="8353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0" name="Rectangle 179">
              <a:extLst>
                <a:ext uri="{FF2B5EF4-FFF2-40B4-BE49-F238E27FC236}">
                  <a16:creationId xmlns:a16="http://schemas.microsoft.com/office/drawing/2014/main" id="{54D63E32-A004-4AFD-BE82-56549F30C11C}"/>
                </a:ext>
              </a:extLst>
            </p:cNvPr>
            <p:cNvSpPr/>
            <p:nvPr userDrawn="1"/>
          </p:nvSpPr>
          <p:spPr>
            <a:xfrm>
              <a:off x="3035367" y="1946104"/>
              <a:ext cx="671123" cy="67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1" name="Rectangle 180">
              <a:extLst>
                <a:ext uri="{FF2B5EF4-FFF2-40B4-BE49-F238E27FC236}">
                  <a16:creationId xmlns:a16="http://schemas.microsoft.com/office/drawing/2014/main" id="{95194278-6696-4FD2-8D66-10625FBCACA4}"/>
                </a:ext>
              </a:extLst>
            </p:cNvPr>
            <p:cNvSpPr/>
            <p:nvPr userDrawn="1"/>
          </p:nvSpPr>
          <p:spPr>
            <a:xfrm>
              <a:off x="3837605" y="1946104"/>
              <a:ext cx="671123" cy="14813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2" name="Rectangle 181">
              <a:extLst>
                <a:ext uri="{FF2B5EF4-FFF2-40B4-BE49-F238E27FC236}">
                  <a16:creationId xmlns:a16="http://schemas.microsoft.com/office/drawing/2014/main" id="{C3383B67-395B-4618-94B2-8FFB09170689}"/>
                </a:ext>
              </a:extLst>
            </p:cNvPr>
            <p:cNvSpPr/>
            <p:nvPr userDrawn="1"/>
          </p:nvSpPr>
          <p:spPr>
            <a:xfrm>
              <a:off x="3837605" y="1946104"/>
              <a:ext cx="671123" cy="13198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3" name="Rectangle 182">
              <a:extLst>
                <a:ext uri="{FF2B5EF4-FFF2-40B4-BE49-F238E27FC236}">
                  <a16:creationId xmlns:a16="http://schemas.microsoft.com/office/drawing/2014/main" id="{ACFCFB25-1D6C-475A-A271-185C58B6D8CD}"/>
                </a:ext>
              </a:extLst>
            </p:cNvPr>
            <p:cNvSpPr/>
            <p:nvPr userDrawn="1"/>
          </p:nvSpPr>
          <p:spPr>
            <a:xfrm>
              <a:off x="3837605" y="1946104"/>
              <a:ext cx="671123" cy="11583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4" name="Rectangle 183">
              <a:extLst>
                <a:ext uri="{FF2B5EF4-FFF2-40B4-BE49-F238E27FC236}">
                  <a16:creationId xmlns:a16="http://schemas.microsoft.com/office/drawing/2014/main" id="{73828B87-D0D9-4219-9A26-4E60D6640DC7}"/>
                </a:ext>
              </a:extLst>
            </p:cNvPr>
            <p:cNvSpPr/>
            <p:nvPr userDrawn="1"/>
          </p:nvSpPr>
          <p:spPr>
            <a:xfrm>
              <a:off x="3837605" y="1946104"/>
              <a:ext cx="671123" cy="99683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5" name="Rectangle 184">
              <a:extLst>
                <a:ext uri="{FF2B5EF4-FFF2-40B4-BE49-F238E27FC236}">
                  <a16:creationId xmlns:a16="http://schemas.microsoft.com/office/drawing/2014/main" id="{32F1CA9D-A578-4C66-ACB9-661F5482120A}"/>
                </a:ext>
              </a:extLst>
            </p:cNvPr>
            <p:cNvSpPr/>
            <p:nvPr userDrawn="1"/>
          </p:nvSpPr>
          <p:spPr>
            <a:xfrm>
              <a:off x="3837605" y="1946104"/>
              <a:ext cx="671123" cy="83534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6" name="Rectangle 185">
              <a:extLst>
                <a:ext uri="{FF2B5EF4-FFF2-40B4-BE49-F238E27FC236}">
                  <a16:creationId xmlns:a16="http://schemas.microsoft.com/office/drawing/2014/main" id="{FBA4A2F3-8BCC-434A-B746-2BDB48D8AB71}"/>
                </a:ext>
              </a:extLst>
            </p:cNvPr>
            <p:cNvSpPr/>
            <p:nvPr userDrawn="1"/>
          </p:nvSpPr>
          <p:spPr>
            <a:xfrm>
              <a:off x="3837605" y="1946104"/>
              <a:ext cx="671123" cy="670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7" name="Rectangle 186">
              <a:extLst>
                <a:ext uri="{FF2B5EF4-FFF2-40B4-BE49-F238E27FC236}">
                  <a16:creationId xmlns:a16="http://schemas.microsoft.com/office/drawing/2014/main" id="{94CE36C5-39FB-4F90-8E32-674401CD3D3F}"/>
                </a:ext>
              </a:extLst>
            </p:cNvPr>
            <p:cNvSpPr/>
            <p:nvPr userDrawn="1"/>
          </p:nvSpPr>
          <p:spPr>
            <a:xfrm>
              <a:off x="4639843" y="1946104"/>
              <a:ext cx="671123" cy="1481328"/>
            </a:xfrm>
            <a:prstGeom prst="rect">
              <a:avLst/>
            </a:prstGeom>
            <a:solidFill>
              <a:schemeClr val="accent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8" name="Rectangle 187">
              <a:extLst>
                <a:ext uri="{FF2B5EF4-FFF2-40B4-BE49-F238E27FC236}">
                  <a16:creationId xmlns:a16="http://schemas.microsoft.com/office/drawing/2014/main" id="{A6E16A70-98A2-4827-A41D-0E0D06F225EA}"/>
                </a:ext>
              </a:extLst>
            </p:cNvPr>
            <p:cNvSpPr/>
            <p:nvPr userDrawn="1"/>
          </p:nvSpPr>
          <p:spPr>
            <a:xfrm>
              <a:off x="4639843" y="1946104"/>
              <a:ext cx="671123" cy="1319832"/>
            </a:xfrm>
            <a:prstGeom prst="rect">
              <a:avLst/>
            </a:prstGeom>
            <a:solidFill>
              <a:schemeClr val="accen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9" name="Rectangle 188">
              <a:extLst>
                <a:ext uri="{FF2B5EF4-FFF2-40B4-BE49-F238E27FC236}">
                  <a16:creationId xmlns:a16="http://schemas.microsoft.com/office/drawing/2014/main" id="{C1D78562-9E82-4152-A4A8-69D145DC1F39}"/>
                </a:ext>
              </a:extLst>
            </p:cNvPr>
            <p:cNvSpPr/>
            <p:nvPr userDrawn="1"/>
          </p:nvSpPr>
          <p:spPr>
            <a:xfrm>
              <a:off x="4639843" y="1946104"/>
              <a:ext cx="671123" cy="115833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0" name="Rectangle 189">
              <a:extLst>
                <a:ext uri="{FF2B5EF4-FFF2-40B4-BE49-F238E27FC236}">
                  <a16:creationId xmlns:a16="http://schemas.microsoft.com/office/drawing/2014/main" id="{5FF04718-41E7-4CBC-B319-0FCB4F715A30}"/>
                </a:ext>
              </a:extLst>
            </p:cNvPr>
            <p:cNvSpPr/>
            <p:nvPr userDrawn="1"/>
          </p:nvSpPr>
          <p:spPr>
            <a:xfrm>
              <a:off x="4639843" y="1946104"/>
              <a:ext cx="671123" cy="99683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1" name="Rectangle 190">
              <a:extLst>
                <a:ext uri="{FF2B5EF4-FFF2-40B4-BE49-F238E27FC236}">
                  <a16:creationId xmlns:a16="http://schemas.microsoft.com/office/drawing/2014/main" id="{784528AC-5133-4570-AE06-21420B61A9DB}"/>
                </a:ext>
              </a:extLst>
            </p:cNvPr>
            <p:cNvSpPr/>
            <p:nvPr userDrawn="1"/>
          </p:nvSpPr>
          <p:spPr>
            <a:xfrm>
              <a:off x="4639843" y="1946104"/>
              <a:ext cx="671123" cy="835342"/>
            </a:xfrm>
            <a:prstGeom prst="rect">
              <a:avLst/>
            </a:pr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2" name="Rectangle 191">
              <a:extLst>
                <a:ext uri="{FF2B5EF4-FFF2-40B4-BE49-F238E27FC236}">
                  <a16:creationId xmlns:a16="http://schemas.microsoft.com/office/drawing/2014/main" id="{AB7BE177-89EB-4FA3-9079-8FA861814FF7}"/>
                </a:ext>
              </a:extLst>
            </p:cNvPr>
            <p:cNvSpPr/>
            <p:nvPr userDrawn="1"/>
          </p:nvSpPr>
          <p:spPr>
            <a:xfrm>
              <a:off x="4639844" y="1946104"/>
              <a:ext cx="671123" cy="670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3" name="Rectangle 192">
              <a:extLst>
                <a:ext uri="{FF2B5EF4-FFF2-40B4-BE49-F238E27FC236}">
                  <a16:creationId xmlns:a16="http://schemas.microsoft.com/office/drawing/2014/main" id="{C9C8021D-DDA1-4E1E-8E0D-CB3AC805ED0E}"/>
                </a:ext>
              </a:extLst>
            </p:cNvPr>
            <p:cNvSpPr/>
            <p:nvPr userDrawn="1"/>
          </p:nvSpPr>
          <p:spPr>
            <a:xfrm>
              <a:off x="5442082" y="1946104"/>
              <a:ext cx="671123" cy="1481328"/>
            </a:xfrm>
            <a:prstGeom prst="rect">
              <a:avLst/>
            </a:prstGeom>
            <a:solidFill>
              <a:schemeClr val="accent3">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4" name="Rectangle 193">
              <a:extLst>
                <a:ext uri="{FF2B5EF4-FFF2-40B4-BE49-F238E27FC236}">
                  <a16:creationId xmlns:a16="http://schemas.microsoft.com/office/drawing/2014/main" id="{08DCABD2-698D-4425-BB59-83846A51C9F3}"/>
                </a:ext>
              </a:extLst>
            </p:cNvPr>
            <p:cNvSpPr/>
            <p:nvPr userDrawn="1"/>
          </p:nvSpPr>
          <p:spPr>
            <a:xfrm>
              <a:off x="5442082" y="1946104"/>
              <a:ext cx="671123" cy="1319832"/>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5" name="Rectangle 194">
              <a:extLst>
                <a:ext uri="{FF2B5EF4-FFF2-40B4-BE49-F238E27FC236}">
                  <a16:creationId xmlns:a16="http://schemas.microsoft.com/office/drawing/2014/main" id="{0F65B3E0-F086-48E1-803B-AB3B20CFB869}"/>
                </a:ext>
              </a:extLst>
            </p:cNvPr>
            <p:cNvSpPr/>
            <p:nvPr userDrawn="1"/>
          </p:nvSpPr>
          <p:spPr>
            <a:xfrm>
              <a:off x="5442082" y="1946104"/>
              <a:ext cx="671123" cy="115833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6" name="Rectangle 195">
              <a:extLst>
                <a:ext uri="{FF2B5EF4-FFF2-40B4-BE49-F238E27FC236}">
                  <a16:creationId xmlns:a16="http://schemas.microsoft.com/office/drawing/2014/main" id="{7E6D9187-7623-4588-904C-A809428DC8CD}"/>
                </a:ext>
              </a:extLst>
            </p:cNvPr>
            <p:cNvSpPr/>
            <p:nvPr userDrawn="1"/>
          </p:nvSpPr>
          <p:spPr>
            <a:xfrm>
              <a:off x="5442082" y="1946104"/>
              <a:ext cx="671123" cy="9968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7" name="Rectangle 196">
              <a:extLst>
                <a:ext uri="{FF2B5EF4-FFF2-40B4-BE49-F238E27FC236}">
                  <a16:creationId xmlns:a16="http://schemas.microsoft.com/office/drawing/2014/main" id="{790931BC-3EC0-4505-ACD9-4358033DE4F6}"/>
                </a:ext>
              </a:extLst>
            </p:cNvPr>
            <p:cNvSpPr/>
            <p:nvPr userDrawn="1"/>
          </p:nvSpPr>
          <p:spPr>
            <a:xfrm>
              <a:off x="5442082" y="1946104"/>
              <a:ext cx="671123" cy="835342"/>
            </a:xfrm>
            <a:prstGeom prst="rect">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8" name="Rectangle 197">
              <a:extLst>
                <a:ext uri="{FF2B5EF4-FFF2-40B4-BE49-F238E27FC236}">
                  <a16:creationId xmlns:a16="http://schemas.microsoft.com/office/drawing/2014/main" id="{A4D4E93C-BC1B-4461-9A45-29B483EC73BF}"/>
                </a:ext>
              </a:extLst>
            </p:cNvPr>
            <p:cNvSpPr/>
            <p:nvPr userDrawn="1"/>
          </p:nvSpPr>
          <p:spPr>
            <a:xfrm>
              <a:off x="5442083" y="1946104"/>
              <a:ext cx="671123" cy="670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9" name="Rectangle 198">
              <a:extLst>
                <a:ext uri="{FF2B5EF4-FFF2-40B4-BE49-F238E27FC236}">
                  <a16:creationId xmlns:a16="http://schemas.microsoft.com/office/drawing/2014/main" id="{E6E3B6DB-4A45-4C4C-9100-69A6FEAB2F71}"/>
                </a:ext>
              </a:extLst>
            </p:cNvPr>
            <p:cNvSpPr/>
            <p:nvPr userDrawn="1"/>
          </p:nvSpPr>
          <p:spPr>
            <a:xfrm>
              <a:off x="6244321" y="1946104"/>
              <a:ext cx="671123" cy="148132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0" name="Rectangle 199">
              <a:extLst>
                <a:ext uri="{FF2B5EF4-FFF2-40B4-BE49-F238E27FC236}">
                  <a16:creationId xmlns:a16="http://schemas.microsoft.com/office/drawing/2014/main" id="{7E52722F-33D2-44D1-ADE2-F379ECF8E85C}"/>
                </a:ext>
              </a:extLst>
            </p:cNvPr>
            <p:cNvSpPr/>
            <p:nvPr userDrawn="1"/>
          </p:nvSpPr>
          <p:spPr>
            <a:xfrm>
              <a:off x="6244321" y="1946104"/>
              <a:ext cx="671123" cy="131983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1" name="Rectangle 200">
              <a:extLst>
                <a:ext uri="{FF2B5EF4-FFF2-40B4-BE49-F238E27FC236}">
                  <a16:creationId xmlns:a16="http://schemas.microsoft.com/office/drawing/2014/main" id="{B146F01B-FAF7-459A-95FC-471FD6F44FE7}"/>
                </a:ext>
              </a:extLst>
            </p:cNvPr>
            <p:cNvSpPr/>
            <p:nvPr userDrawn="1"/>
          </p:nvSpPr>
          <p:spPr>
            <a:xfrm>
              <a:off x="6244321" y="1946104"/>
              <a:ext cx="671123" cy="115833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2" name="Rectangle 201">
              <a:extLst>
                <a:ext uri="{FF2B5EF4-FFF2-40B4-BE49-F238E27FC236}">
                  <a16:creationId xmlns:a16="http://schemas.microsoft.com/office/drawing/2014/main" id="{CBCD4ABC-5320-4DF8-A422-49658D6A72DF}"/>
                </a:ext>
              </a:extLst>
            </p:cNvPr>
            <p:cNvSpPr/>
            <p:nvPr userDrawn="1"/>
          </p:nvSpPr>
          <p:spPr>
            <a:xfrm>
              <a:off x="6244321" y="1946104"/>
              <a:ext cx="671123" cy="99683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3" name="Rectangle 202">
              <a:extLst>
                <a:ext uri="{FF2B5EF4-FFF2-40B4-BE49-F238E27FC236}">
                  <a16:creationId xmlns:a16="http://schemas.microsoft.com/office/drawing/2014/main" id="{975E9A33-9E0E-4E18-A5DD-86EF652AD6FB}"/>
                </a:ext>
              </a:extLst>
            </p:cNvPr>
            <p:cNvSpPr/>
            <p:nvPr userDrawn="1"/>
          </p:nvSpPr>
          <p:spPr>
            <a:xfrm>
              <a:off x="6244321" y="1946104"/>
              <a:ext cx="671123" cy="8353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4" name="Rectangle 203">
              <a:extLst>
                <a:ext uri="{FF2B5EF4-FFF2-40B4-BE49-F238E27FC236}">
                  <a16:creationId xmlns:a16="http://schemas.microsoft.com/office/drawing/2014/main" id="{86DE6780-4E8C-4FC1-AD40-851153AC9C0E}"/>
                </a:ext>
              </a:extLst>
            </p:cNvPr>
            <p:cNvSpPr/>
            <p:nvPr userDrawn="1"/>
          </p:nvSpPr>
          <p:spPr>
            <a:xfrm>
              <a:off x="6244321" y="1946104"/>
              <a:ext cx="671123" cy="670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5" name="Rectangle 204">
              <a:extLst>
                <a:ext uri="{FF2B5EF4-FFF2-40B4-BE49-F238E27FC236}">
                  <a16:creationId xmlns:a16="http://schemas.microsoft.com/office/drawing/2014/main" id="{93CF397D-F42D-4CB6-A604-09A609A110BD}"/>
                </a:ext>
              </a:extLst>
            </p:cNvPr>
            <p:cNvSpPr/>
            <p:nvPr userDrawn="1"/>
          </p:nvSpPr>
          <p:spPr>
            <a:xfrm>
              <a:off x="7046559" y="1946104"/>
              <a:ext cx="671123" cy="148132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6" name="Rectangle 205">
              <a:extLst>
                <a:ext uri="{FF2B5EF4-FFF2-40B4-BE49-F238E27FC236}">
                  <a16:creationId xmlns:a16="http://schemas.microsoft.com/office/drawing/2014/main" id="{057D5D7B-B1AE-46F9-A720-823F6987157D}"/>
                </a:ext>
              </a:extLst>
            </p:cNvPr>
            <p:cNvSpPr/>
            <p:nvPr userDrawn="1"/>
          </p:nvSpPr>
          <p:spPr>
            <a:xfrm>
              <a:off x="7046559" y="1946104"/>
              <a:ext cx="671123" cy="131983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7" name="Rectangle 206">
              <a:extLst>
                <a:ext uri="{FF2B5EF4-FFF2-40B4-BE49-F238E27FC236}">
                  <a16:creationId xmlns:a16="http://schemas.microsoft.com/office/drawing/2014/main" id="{C3F776C9-C8F5-41AB-A50C-E17AA2489CAC}"/>
                </a:ext>
              </a:extLst>
            </p:cNvPr>
            <p:cNvSpPr/>
            <p:nvPr userDrawn="1"/>
          </p:nvSpPr>
          <p:spPr>
            <a:xfrm>
              <a:off x="7046559" y="1946104"/>
              <a:ext cx="671123" cy="115833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8" name="Rectangle 207">
              <a:extLst>
                <a:ext uri="{FF2B5EF4-FFF2-40B4-BE49-F238E27FC236}">
                  <a16:creationId xmlns:a16="http://schemas.microsoft.com/office/drawing/2014/main" id="{1D7A8D87-B1EB-43D5-8080-17E8C01FB2DA}"/>
                </a:ext>
              </a:extLst>
            </p:cNvPr>
            <p:cNvSpPr/>
            <p:nvPr userDrawn="1"/>
          </p:nvSpPr>
          <p:spPr>
            <a:xfrm>
              <a:off x="7046559" y="1946104"/>
              <a:ext cx="671123" cy="99683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9" name="Rectangle 208">
              <a:extLst>
                <a:ext uri="{FF2B5EF4-FFF2-40B4-BE49-F238E27FC236}">
                  <a16:creationId xmlns:a16="http://schemas.microsoft.com/office/drawing/2014/main" id="{EC74B798-98F8-436D-8519-8E6975A11FE1}"/>
                </a:ext>
              </a:extLst>
            </p:cNvPr>
            <p:cNvSpPr/>
            <p:nvPr userDrawn="1"/>
          </p:nvSpPr>
          <p:spPr>
            <a:xfrm>
              <a:off x="7046559" y="1946104"/>
              <a:ext cx="671123" cy="83534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0" name="Rectangle 209">
              <a:extLst>
                <a:ext uri="{FF2B5EF4-FFF2-40B4-BE49-F238E27FC236}">
                  <a16:creationId xmlns:a16="http://schemas.microsoft.com/office/drawing/2014/main" id="{71D3983B-1AF9-4D52-AE43-A0EF0DBE0B61}"/>
                </a:ext>
              </a:extLst>
            </p:cNvPr>
            <p:cNvSpPr/>
            <p:nvPr userDrawn="1"/>
          </p:nvSpPr>
          <p:spPr>
            <a:xfrm>
              <a:off x="7046560" y="1946104"/>
              <a:ext cx="671123" cy="6706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1" name="Rectangle 210">
              <a:extLst>
                <a:ext uri="{FF2B5EF4-FFF2-40B4-BE49-F238E27FC236}">
                  <a16:creationId xmlns:a16="http://schemas.microsoft.com/office/drawing/2014/main" id="{2394C317-F0E7-4FE1-9D1F-8580B23BF1CD}"/>
                </a:ext>
              </a:extLst>
            </p:cNvPr>
            <p:cNvSpPr/>
            <p:nvPr userDrawn="1"/>
          </p:nvSpPr>
          <p:spPr>
            <a:xfrm>
              <a:off x="7848799" y="1946104"/>
              <a:ext cx="671123" cy="1481328"/>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2" name="Rectangle 211">
              <a:extLst>
                <a:ext uri="{FF2B5EF4-FFF2-40B4-BE49-F238E27FC236}">
                  <a16:creationId xmlns:a16="http://schemas.microsoft.com/office/drawing/2014/main" id="{213B29DD-5A5D-44F2-904F-8A6C2779618A}"/>
                </a:ext>
              </a:extLst>
            </p:cNvPr>
            <p:cNvSpPr/>
            <p:nvPr userDrawn="1"/>
          </p:nvSpPr>
          <p:spPr>
            <a:xfrm>
              <a:off x="7848799" y="1946104"/>
              <a:ext cx="671123" cy="1319832"/>
            </a:xfrm>
            <a:prstGeom prst="rect">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3" name="Rectangle 212">
              <a:extLst>
                <a:ext uri="{FF2B5EF4-FFF2-40B4-BE49-F238E27FC236}">
                  <a16:creationId xmlns:a16="http://schemas.microsoft.com/office/drawing/2014/main" id="{F1DC7031-3EC5-4E19-BB0E-3673D17D72DC}"/>
                </a:ext>
              </a:extLst>
            </p:cNvPr>
            <p:cNvSpPr/>
            <p:nvPr userDrawn="1"/>
          </p:nvSpPr>
          <p:spPr>
            <a:xfrm>
              <a:off x="7848799" y="1946104"/>
              <a:ext cx="671123" cy="115833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4" name="Rectangle 213">
              <a:extLst>
                <a:ext uri="{FF2B5EF4-FFF2-40B4-BE49-F238E27FC236}">
                  <a16:creationId xmlns:a16="http://schemas.microsoft.com/office/drawing/2014/main" id="{A3313C41-419B-4E5B-A156-8115FB45AE2E}"/>
                </a:ext>
              </a:extLst>
            </p:cNvPr>
            <p:cNvSpPr/>
            <p:nvPr userDrawn="1"/>
          </p:nvSpPr>
          <p:spPr>
            <a:xfrm>
              <a:off x="7848799" y="1946104"/>
              <a:ext cx="671123" cy="99683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5" name="Rectangle 214">
              <a:extLst>
                <a:ext uri="{FF2B5EF4-FFF2-40B4-BE49-F238E27FC236}">
                  <a16:creationId xmlns:a16="http://schemas.microsoft.com/office/drawing/2014/main" id="{93F2405F-A612-4FB4-BEF9-2AD77DF769FB}"/>
                </a:ext>
              </a:extLst>
            </p:cNvPr>
            <p:cNvSpPr/>
            <p:nvPr userDrawn="1"/>
          </p:nvSpPr>
          <p:spPr>
            <a:xfrm>
              <a:off x="7848799" y="1946104"/>
              <a:ext cx="671123" cy="835342"/>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6" name="Rectangle 215">
              <a:extLst>
                <a:ext uri="{FF2B5EF4-FFF2-40B4-BE49-F238E27FC236}">
                  <a16:creationId xmlns:a16="http://schemas.microsoft.com/office/drawing/2014/main" id="{95C345FB-FDED-488A-9DD9-31B2B83CFB1B}"/>
                </a:ext>
              </a:extLst>
            </p:cNvPr>
            <p:cNvSpPr/>
            <p:nvPr userDrawn="1"/>
          </p:nvSpPr>
          <p:spPr>
            <a:xfrm>
              <a:off x="7848799" y="1946104"/>
              <a:ext cx="671123" cy="670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grpSp>
      <p:sp>
        <p:nvSpPr>
          <p:cNvPr id="72" name="Shape">
            <a:extLst>
              <a:ext uri="{FF2B5EF4-FFF2-40B4-BE49-F238E27FC236}">
                <a16:creationId xmlns:a16="http://schemas.microsoft.com/office/drawing/2014/main" id="{98C07840-55DE-FA4B-AD57-2DBC6B90B55B}"/>
              </a:ext>
            </a:extLst>
          </p:cNvPr>
          <p:cNvSpPr/>
          <p:nvPr userDrawn="1"/>
        </p:nvSpPr>
        <p:spPr>
          <a:xfrm>
            <a:off x="0" y="5680394"/>
            <a:ext cx="2689016" cy="1177606"/>
          </a:xfrm>
          <a:custGeom>
            <a:avLst/>
            <a:gdLst/>
            <a:ahLst/>
            <a:cxnLst>
              <a:cxn ang="0">
                <a:pos x="wd2" y="hd2"/>
              </a:cxn>
              <a:cxn ang="5400000">
                <a:pos x="wd2" y="hd2"/>
              </a:cxn>
              <a:cxn ang="10800000">
                <a:pos x="wd2" y="hd2"/>
              </a:cxn>
              <a:cxn ang="16200000">
                <a:pos x="wd2" y="hd2"/>
              </a:cxn>
            </a:cxnLst>
            <a:rect l="0" t="0" r="r" b="b"/>
            <a:pathLst>
              <a:path w="21600" h="20929" extrusionOk="0">
                <a:moveTo>
                  <a:pt x="10202" y="2015"/>
                </a:moveTo>
                <a:cubicBezTo>
                  <a:pt x="8583" y="-671"/>
                  <a:pt x="5958" y="-671"/>
                  <a:pt x="4339" y="2015"/>
                </a:cubicBezTo>
                <a:lnTo>
                  <a:pt x="0" y="9418"/>
                </a:lnTo>
                <a:lnTo>
                  <a:pt x="0" y="20929"/>
                </a:lnTo>
                <a:lnTo>
                  <a:pt x="21600" y="20929"/>
                </a:lnTo>
                <a:lnTo>
                  <a:pt x="10202" y="2015"/>
                </a:lnTo>
                <a:close/>
              </a:path>
            </a:pathLst>
          </a:custGeom>
          <a:solidFill>
            <a:schemeClr val="accent1">
              <a:lumMod val="40000"/>
              <a:lumOff val="60000"/>
            </a:schemeClr>
          </a:solidFill>
          <a:ln w="12700">
            <a:miter lim="400000"/>
          </a:ln>
        </p:spPr>
        <p:txBody>
          <a:bodyPr lIns="38100" tIns="38100" rIns="38100" bIns="38100" anchor="ctr"/>
          <a:lstStyle/>
          <a:p>
            <a:pPr>
              <a:defRPr sz="3000">
                <a:solidFill>
                  <a:srgbClr val="FFFFFF"/>
                </a:solidFill>
              </a:defRPr>
            </a:pPr>
            <a:endParaRPr sz="3000"/>
          </a:p>
        </p:txBody>
      </p:sp>
    </p:spTree>
    <p:extLst>
      <p:ext uri="{BB962C8B-B14F-4D97-AF65-F5344CB8AC3E}">
        <p14:creationId xmlns:p14="http://schemas.microsoft.com/office/powerpoint/2010/main" val="37468195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1FD0D05D-5F7D-2D4E-A639-04317F7F0761}"/>
              </a:ext>
            </a:extLst>
          </p:cNvPr>
          <p:cNvSpPr>
            <a:spLocks noGrp="1"/>
          </p:cNvSpPr>
          <p:nvPr>
            <p:ph type="pic" sz="quarter" idx="17"/>
          </p:nvPr>
        </p:nvSpPr>
        <p:spPr>
          <a:xfrm>
            <a:off x="699893" y="0"/>
            <a:ext cx="11492108" cy="6858000"/>
          </a:xfrm>
        </p:spPr>
        <p:txBody>
          <a:bodyPr anchor="ctr"/>
          <a:lstStyle>
            <a:lvl1pPr algn="ctr">
              <a:buNone/>
              <a:defRPr/>
            </a:lvl1pPr>
          </a:lstStyle>
          <a:p>
            <a:endParaRPr lang="en-US"/>
          </a:p>
        </p:txBody>
      </p:sp>
      <p:sp>
        <p:nvSpPr>
          <p:cNvPr id="18" name="Title 1">
            <a:extLst>
              <a:ext uri="{FF2B5EF4-FFF2-40B4-BE49-F238E27FC236}">
                <a16:creationId xmlns:a16="http://schemas.microsoft.com/office/drawing/2014/main" id="{938FEC7A-5B18-4B66-9EF5-0FC67C8D6310}"/>
              </a:ext>
            </a:extLst>
          </p:cNvPr>
          <p:cNvSpPr>
            <a:spLocks noGrp="1"/>
          </p:cNvSpPr>
          <p:nvPr userDrawn="1">
            <p:ph type="ctrTitle"/>
          </p:nvPr>
        </p:nvSpPr>
        <p:spPr>
          <a:xfrm>
            <a:off x="838201" y="3626069"/>
            <a:ext cx="10863316" cy="1587062"/>
          </a:xfrm>
          <a:prstGeom prst="rect">
            <a:avLst/>
          </a:prstGeom>
        </p:spPr>
        <p:txBody>
          <a:bodyPr anchor="ctr"/>
          <a:lstStyle>
            <a:lvl1pPr algn="l">
              <a:defRPr sz="6000">
                <a:solidFill>
                  <a:schemeClr val="bg1"/>
                </a:solidFill>
              </a:defRPr>
            </a:lvl1pPr>
          </a:lstStyle>
          <a:p>
            <a:r>
              <a:rPr lang="en-US" dirty="0"/>
              <a:t>Click to edit Master title style</a:t>
            </a:r>
          </a:p>
        </p:txBody>
      </p:sp>
      <p:sp>
        <p:nvSpPr>
          <p:cNvPr id="20" name="Subtitle 2">
            <a:extLst>
              <a:ext uri="{FF2B5EF4-FFF2-40B4-BE49-F238E27FC236}">
                <a16:creationId xmlns:a16="http://schemas.microsoft.com/office/drawing/2014/main" id="{B29E4FEF-DBF0-48D1-B1B7-AC8CEFB7F10D}"/>
              </a:ext>
            </a:extLst>
          </p:cNvPr>
          <p:cNvSpPr>
            <a:spLocks noGrp="1"/>
          </p:cNvSpPr>
          <p:nvPr userDrawn="1">
            <p:ph type="subTitle" idx="1"/>
          </p:nvPr>
        </p:nvSpPr>
        <p:spPr>
          <a:xfrm>
            <a:off x="838200" y="5415653"/>
            <a:ext cx="5650187" cy="68160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Date Placeholder 3">
            <a:extLst>
              <a:ext uri="{FF2B5EF4-FFF2-40B4-BE49-F238E27FC236}">
                <a16:creationId xmlns:a16="http://schemas.microsoft.com/office/drawing/2014/main" id="{9CD37997-F225-43D0-99F3-38A3F545A6B8}"/>
              </a:ext>
            </a:extLst>
          </p:cNvPr>
          <p:cNvSpPr>
            <a:spLocks noGrp="1"/>
          </p:cNvSpPr>
          <p:nvPr userDrawn="1">
            <p:ph type="dt" sz="half" idx="10"/>
          </p:nvPr>
        </p:nvSpPr>
        <p:spPr>
          <a:xfrm>
            <a:off x="838200" y="6356351"/>
            <a:ext cx="2743200" cy="365125"/>
          </a:xfrm>
          <a:prstGeom prst="rect">
            <a:avLst/>
          </a:prstGeom>
        </p:spPr>
        <p:txBody>
          <a:bodyPr/>
          <a:lstStyle/>
          <a:p>
            <a:r>
              <a:rPr lang="en-US"/>
              <a:t>Date</a:t>
            </a:r>
          </a:p>
        </p:txBody>
      </p:sp>
      <p:sp>
        <p:nvSpPr>
          <p:cNvPr id="23" name="Footer Placeholder 4">
            <a:extLst>
              <a:ext uri="{FF2B5EF4-FFF2-40B4-BE49-F238E27FC236}">
                <a16:creationId xmlns:a16="http://schemas.microsoft.com/office/drawing/2014/main" id="{3591AFD2-6F19-4349-B6C5-EA75918EBA6F}"/>
              </a:ext>
            </a:extLst>
          </p:cNvPr>
          <p:cNvSpPr>
            <a:spLocks noGrp="1"/>
          </p:cNvSpPr>
          <p:nvPr userDrawn="1">
            <p:ph type="ftr" sz="quarter" idx="11"/>
          </p:nvPr>
        </p:nvSpPr>
        <p:spPr>
          <a:xfrm>
            <a:off x="4038600" y="6356351"/>
            <a:ext cx="4114800" cy="365125"/>
          </a:xfrm>
          <a:prstGeom prst="rect">
            <a:avLst/>
          </a:prstGeom>
        </p:spPr>
        <p:txBody>
          <a:bodyPr/>
          <a:lstStyle/>
          <a:p>
            <a:r>
              <a:rPr lang="en-US"/>
              <a:t>Your Footer Here</a:t>
            </a:r>
          </a:p>
        </p:txBody>
      </p:sp>
      <p:sp>
        <p:nvSpPr>
          <p:cNvPr id="24" name="Slide Number Placeholder 5">
            <a:extLst>
              <a:ext uri="{FF2B5EF4-FFF2-40B4-BE49-F238E27FC236}">
                <a16:creationId xmlns:a16="http://schemas.microsoft.com/office/drawing/2014/main" id="{47EB3B26-5365-416B-8AE3-419320AA0831}"/>
              </a:ext>
            </a:extLst>
          </p:cNvPr>
          <p:cNvSpPr>
            <a:spLocks noGrp="1"/>
          </p:cNvSpPr>
          <p:nvPr userDrawn="1">
            <p:ph type="sldNum" sz="quarter" idx="12"/>
          </p:nvPr>
        </p:nvSpPr>
        <p:spPr>
          <a:xfrm>
            <a:off x="8610600" y="6356351"/>
            <a:ext cx="2743200" cy="365125"/>
          </a:xfrm>
          <a:prstGeom prst="rect">
            <a:avLst/>
          </a:prstGeom>
        </p:spPr>
        <p:txBody>
          <a:bodyPr/>
          <a:lstStyle/>
          <a:p>
            <a:fld id="{E1D938BB-204F-405F-99D0-29E0C28153FC}" type="slidenum">
              <a:rPr lang="en-US" smtClean="0"/>
              <a:t>‹#›</a:t>
            </a:fld>
            <a:endParaRPr lang="en-US"/>
          </a:p>
        </p:txBody>
      </p:sp>
    </p:spTree>
    <p:extLst>
      <p:ext uri="{BB962C8B-B14F-4D97-AF65-F5344CB8AC3E}">
        <p14:creationId xmlns:p14="http://schemas.microsoft.com/office/powerpoint/2010/main" val="19382319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F9AC8BF-9EF2-49DD-837C-C6608B1894BD}"/>
              </a:ext>
            </a:extLst>
          </p:cNvPr>
          <p:cNvSpPr/>
          <p:nvPr userDrawn="1"/>
        </p:nvSpPr>
        <p:spPr>
          <a:xfrm>
            <a:off x="8879630" y="2"/>
            <a:ext cx="2592164" cy="1498809"/>
          </a:xfrm>
          <a:custGeom>
            <a:avLst/>
            <a:gdLst/>
            <a:ahLst/>
            <a:cxnLst>
              <a:cxn ang="0">
                <a:pos x="wd2" y="hd2"/>
              </a:cxn>
              <a:cxn ang="5400000">
                <a:pos x="wd2" y="hd2"/>
              </a:cxn>
              <a:cxn ang="10800000">
                <a:pos x="wd2" y="hd2"/>
              </a:cxn>
              <a:cxn ang="16200000">
                <a:pos x="wd2" y="hd2"/>
              </a:cxn>
            </a:cxnLst>
            <a:rect l="0" t="0" r="r" b="b"/>
            <a:pathLst>
              <a:path w="21600" h="21600" extrusionOk="0">
                <a:moveTo>
                  <a:pt x="4734" y="0"/>
                </a:moveTo>
                <a:lnTo>
                  <a:pt x="0" y="0"/>
                </a:lnTo>
                <a:lnTo>
                  <a:pt x="16866" y="21600"/>
                </a:lnTo>
                <a:lnTo>
                  <a:pt x="21600" y="2160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6" name="Shape">
            <a:extLst>
              <a:ext uri="{FF2B5EF4-FFF2-40B4-BE49-F238E27FC236}">
                <a16:creationId xmlns:a16="http://schemas.microsoft.com/office/drawing/2014/main" id="{D44E34CA-BC8B-4628-9A91-A2C114137127}"/>
              </a:ext>
            </a:extLst>
          </p:cNvPr>
          <p:cNvSpPr/>
          <p:nvPr userDrawn="1"/>
        </p:nvSpPr>
        <p:spPr>
          <a:xfrm>
            <a:off x="9422949" y="1"/>
            <a:ext cx="2769052" cy="2050470"/>
          </a:xfrm>
          <a:custGeom>
            <a:avLst/>
            <a:gdLst/>
            <a:ahLst/>
            <a:cxnLst>
              <a:cxn ang="0">
                <a:pos x="wd2" y="hd2"/>
              </a:cxn>
              <a:cxn ang="5400000">
                <a:pos x="wd2" y="hd2"/>
              </a:cxn>
              <a:cxn ang="10800000">
                <a:pos x="wd2" y="hd2"/>
              </a:cxn>
              <a:cxn ang="16200000">
                <a:pos x="wd2" y="hd2"/>
              </a:cxn>
            </a:cxnLst>
            <a:rect l="0" t="0" r="r" b="b"/>
            <a:pathLst>
              <a:path w="21600" h="21600" extrusionOk="0">
                <a:moveTo>
                  <a:pt x="4431" y="0"/>
                </a:moveTo>
                <a:lnTo>
                  <a:pt x="0" y="0"/>
                </a:lnTo>
                <a:lnTo>
                  <a:pt x="21600" y="21600"/>
                </a:lnTo>
                <a:lnTo>
                  <a:pt x="21600" y="17155"/>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1" name="Shape">
            <a:extLst>
              <a:ext uri="{FF2B5EF4-FFF2-40B4-BE49-F238E27FC236}">
                <a16:creationId xmlns:a16="http://schemas.microsoft.com/office/drawing/2014/main" id="{FDB69586-A4B3-B145-935C-E68E8FE58545}"/>
              </a:ext>
            </a:extLst>
          </p:cNvPr>
          <p:cNvSpPr/>
          <p:nvPr/>
        </p:nvSpPr>
        <p:spPr>
          <a:xfrm>
            <a:off x="-5779" y="3775044"/>
            <a:ext cx="12197779" cy="3082956"/>
          </a:xfrm>
          <a:custGeom>
            <a:avLst/>
            <a:gdLst/>
            <a:ahLst/>
            <a:cxnLst>
              <a:cxn ang="0">
                <a:pos x="wd2" y="hd2"/>
              </a:cxn>
              <a:cxn ang="5400000">
                <a:pos x="wd2" y="hd2"/>
              </a:cxn>
              <a:cxn ang="10800000">
                <a:pos x="wd2" y="hd2"/>
              </a:cxn>
              <a:cxn ang="16200000">
                <a:pos x="wd2" y="hd2"/>
              </a:cxn>
            </a:cxnLst>
            <a:rect l="0" t="0" r="r" b="b"/>
            <a:pathLst>
              <a:path w="21600" h="21600" extrusionOk="0">
                <a:moveTo>
                  <a:pt x="5744" y="16813"/>
                </a:moveTo>
                <a:lnTo>
                  <a:pt x="0" y="0"/>
                </a:lnTo>
                <a:lnTo>
                  <a:pt x="0" y="21600"/>
                </a:lnTo>
                <a:lnTo>
                  <a:pt x="21600" y="21600"/>
                </a:lnTo>
                <a:lnTo>
                  <a:pt x="21600" y="16813"/>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4" name="Triangle">
            <a:extLst>
              <a:ext uri="{FF2B5EF4-FFF2-40B4-BE49-F238E27FC236}">
                <a16:creationId xmlns:a16="http://schemas.microsoft.com/office/drawing/2014/main" id="{38FB70C0-24A5-1F43-ABC3-1FE6A306C184}"/>
              </a:ext>
            </a:extLst>
          </p:cNvPr>
          <p:cNvSpPr/>
          <p:nvPr/>
        </p:nvSpPr>
        <p:spPr>
          <a:xfrm>
            <a:off x="-5778" y="6090406"/>
            <a:ext cx="1036337" cy="7675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5B5B5B"/>
          </a:solidFill>
          <a:ln w="12700">
            <a:miter lim="400000"/>
          </a:ln>
        </p:spPr>
        <p:txBody>
          <a:bodyPr lIns="38100" tIns="38100" rIns="38100" bIns="38100" anchor="ctr"/>
          <a:lstStyle/>
          <a:p>
            <a:pPr>
              <a:defRPr sz="3000">
                <a:solidFill>
                  <a:srgbClr val="FFFFFF"/>
                </a:solidFill>
              </a:defRPr>
            </a:pPr>
            <a:endParaRPr sz="3000"/>
          </a:p>
        </p:txBody>
      </p:sp>
      <p:sp>
        <p:nvSpPr>
          <p:cNvPr id="28" name="Title 1">
            <a:extLst>
              <a:ext uri="{FF2B5EF4-FFF2-40B4-BE49-F238E27FC236}">
                <a16:creationId xmlns:a16="http://schemas.microsoft.com/office/drawing/2014/main" id="{C89E6CC6-39BF-46E2-B1D0-7967F6F97C8D}"/>
              </a:ext>
            </a:extLst>
          </p:cNvPr>
          <p:cNvSpPr>
            <a:spLocks noGrp="1"/>
          </p:cNvSpPr>
          <p:nvPr userDrawn="1">
            <p:ph type="title"/>
          </p:nvPr>
        </p:nvSpPr>
        <p:spPr>
          <a:xfrm>
            <a:off x="838200" y="365126"/>
            <a:ext cx="10515600" cy="1325563"/>
          </a:xfrm>
        </p:spPr>
        <p:txBody>
          <a:bodyPr/>
          <a:lstStyle/>
          <a:p>
            <a:r>
              <a:rPr lang="en-US" dirty="0"/>
              <a:t>Click to edit Master title style</a:t>
            </a:r>
          </a:p>
        </p:txBody>
      </p:sp>
      <p:sp>
        <p:nvSpPr>
          <p:cNvPr id="29" name="Content Placeholder 2">
            <a:extLst>
              <a:ext uri="{FF2B5EF4-FFF2-40B4-BE49-F238E27FC236}">
                <a16:creationId xmlns:a16="http://schemas.microsoft.com/office/drawing/2014/main" id="{EB79CB35-9B92-4624-B48F-C0CF7A2C5F8B}"/>
              </a:ext>
            </a:extLst>
          </p:cNvPr>
          <p:cNvSpPr>
            <a:spLocks noGrp="1"/>
          </p:cNvSpPr>
          <p:nvPr userDrawn="1">
            <p:ph idx="1"/>
          </p:nvPr>
        </p:nvSpPr>
        <p:spPr>
          <a:xfrm>
            <a:off x="2774731" y="1825625"/>
            <a:ext cx="8579069" cy="384996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Date Placeholder 3">
            <a:extLst>
              <a:ext uri="{FF2B5EF4-FFF2-40B4-BE49-F238E27FC236}">
                <a16:creationId xmlns:a16="http://schemas.microsoft.com/office/drawing/2014/main" id="{6C1CE33F-5189-414B-9B26-A58EC61B34D2}"/>
              </a:ext>
            </a:extLst>
          </p:cNvPr>
          <p:cNvSpPr>
            <a:spLocks noGrp="1"/>
          </p:cNvSpPr>
          <p:nvPr userDrawn="1">
            <p:ph type="dt" sz="half" idx="10"/>
          </p:nvPr>
        </p:nvSpPr>
        <p:spPr>
          <a:xfrm>
            <a:off x="838200" y="6356351"/>
            <a:ext cx="2743200" cy="365125"/>
          </a:xfrm>
        </p:spPr>
        <p:txBody>
          <a:bodyPr/>
          <a:lstStyle>
            <a:lvl1pPr>
              <a:defRPr>
                <a:solidFill>
                  <a:schemeClr val="tx1"/>
                </a:solidFill>
              </a:defRPr>
            </a:lvl1pPr>
          </a:lstStyle>
          <a:p>
            <a:r>
              <a:rPr lang="en-US"/>
              <a:t>Date</a:t>
            </a:r>
          </a:p>
        </p:txBody>
      </p:sp>
      <p:sp>
        <p:nvSpPr>
          <p:cNvPr id="31" name="Footer Placeholder 4">
            <a:extLst>
              <a:ext uri="{FF2B5EF4-FFF2-40B4-BE49-F238E27FC236}">
                <a16:creationId xmlns:a16="http://schemas.microsoft.com/office/drawing/2014/main" id="{9E161DA4-AA69-44DA-AD82-6A3B9288D56D}"/>
              </a:ext>
            </a:extLst>
          </p:cNvPr>
          <p:cNvSpPr>
            <a:spLocks noGrp="1"/>
          </p:cNvSpPr>
          <p:nvPr userDrawn="1">
            <p:ph type="ftr" sz="quarter" idx="11"/>
          </p:nvPr>
        </p:nvSpPr>
        <p:spPr>
          <a:xfrm>
            <a:off x="4038600" y="6356351"/>
            <a:ext cx="4114800" cy="365125"/>
          </a:xfrm>
        </p:spPr>
        <p:txBody>
          <a:bodyPr/>
          <a:lstStyle>
            <a:lvl1pPr>
              <a:defRPr>
                <a:solidFill>
                  <a:schemeClr val="tx1"/>
                </a:solidFill>
              </a:defRPr>
            </a:lvl1pPr>
          </a:lstStyle>
          <a:p>
            <a:r>
              <a:rPr lang="en-US">
                <a:solidFill>
                  <a:schemeClr val="tx1"/>
                </a:solidFill>
              </a:rPr>
              <a:t>Your Footer Here</a:t>
            </a:r>
          </a:p>
        </p:txBody>
      </p:sp>
      <p:sp>
        <p:nvSpPr>
          <p:cNvPr id="32" name="Slide Number Placeholder 5">
            <a:extLst>
              <a:ext uri="{FF2B5EF4-FFF2-40B4-BE49-F238E27FC236}">
                <a16:creationId xmlns:a16="http://schemas.microsoft.com/office/drawing/2014/main" id="{C1571870-B8E8-4979-BDF5-9E965C35F03B}"/>
              </a:ext>
            </a:extLst>
          </p:cNvPr>
          <p:cNvSpPr>
            <a:spLocks noGrp="1"/>
          </p:cNvSpPr>
          <p:nvPr userDrawn="1">
            <p:ph type="sldNum" sz="quarter" idx="12"/>
          </p:nvPr>
        </p:nvSpPr>
        <p:spPr>
          <a:xfrm>
            <a:off x="8610600" y="6356351"/>
            <a:ext cx="2743200" cy="365125"/>
          </a:xfrm>
        </p:spPr>
        <p:txBody>
          <a:bodyPr/>
          <a:lstStyle>
            <a:lvl1pPr>
              <a:defRPr>
                <a:solidFill>
                  <a:schemeClr val="tx1"/>
                </a:solidFill>
              </a:defRPr>
            </a:lvl1pPr>
          </a:lstStyle>
          <a:p>
            <a:fld id="{83A218E8-C0C8-4525-BD5F-99356FF4A842}" type="slidenum">
              <a:rPr lang="en-US" smtClean="0"/>
              <a:pPr/>
              <a:t>‹#›</a:t>
            </a:fld>
            <a:endParaRPr lang="en-US"/>
          </a:p>
        </p:txBody>
      </p:sp>
    </p:spTree>
    <p:extLst>
      <p:ext uri="{BB962C8B-B14F-4D97-AF65-F5344CB8AC3E}">
        <p14:creationId xmlns:p14="http://schemas.microsoft.com/office/powerpoint/2010/main" val="38199382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2" name="Shape">
            <a:extLst>
              <a:ext uri="{FF2B5EF4-FFF2-40B4-BE49-F238E27FC236}">
                <a16:creationId xmlns:a16="http://schemas.microsoft.com/office/drawing/2014/main" id="{D6F24EF1-FA27-2D44-A201-D3759B401B8A}"/>
              </a:ext>
            </a:extLst>
          </p:cNvPr>
          <p:cNvSpPr/>
          <p:nvPr/>
        </p:nvSpPr>
        <p:spPr>
          <a:xfrm>
            <a:off x="8879630" y="2"/>
            <a:ext cx="2592164" cy="1498809"/>
          </a:xfrm>
          <a:custGeom>
            <a:avLst/>
            <a:gdLst/>
            <a:ahLst/>
            <a:cxnLst>
              <a:cxn ang="0">
                <a:pos x="wd2" y="hd2"/>
              </a:cxn>
              <a:cxn ang="5400000">
                <a:pos x="wd2" y="hd2"/>
              </a:cxn>
              <a:cxn ang="10800000">
                <a:pos x="wd2" y="hd2"/>
              </a:cxn>
              <a:cxn ang="16200000">
                <a:pos x="wd2" y="hd2"/>
              </a:cxn>
            </a:cxnLst>
            <a:rect l="0" t="0" r="r" b="b"/>
            <a:pathLst>
              <a:path w="21600" h="21600" extrusionOk="0">
                <a:moveTo>
                  <a:pt x="4734" y="0"/>
                </a:moveTo>
                <a:lnTo>
                  <a:pt x="0" y="0"/>
                </a:lnTo>
                <a:lnTo>
                  <a:pt x="16866" y="21600"/>
                </a:lnTo>
                <a:lnTo>
                  <a:pt x="21600" y="2160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3" name="Shape">
            <a:extLst>
              <a:ext uri="{FF2B5EF4-FFF2-40B4-BE49-F238E27FC236}">
                <a16:creationId xmlns:a16="http://schemas.microsoft.com/office/drawing/2014/main" id="{32D78976-D03C-4D43-985E-37FB2C1872BA}"/>
              </a:ext>
            </a:extLst>
          </p:cNvPr>
          <p:cNvSpPr/>
          <p:nvPr/>
        </p:nvSpPr>
        <p:spPr>
          <a:xfrm>
            <a:off x="0" y="0"/>
            <a:ext cx="12192000" cy="6858000"/>
          </a:xfrm>
          <a:custGeom>
            <a:avLst/>
            <a:gdLst/>
            <a:ahLst/>
            <a:cxnLst>
              <a:cxn ang="0">
                <a:pos x="wd2" y="hd2"/>
              </a:cxn>
              <a:cxn ang="5400000">
                <a:pos x="wd2" y="hd2"/>
              </a:cxn>
              <a:cxn ang="10800000">
                <a:pos x="wd2" y="hd2"/>
              </a:cxn>
              <a:cxn ang="16200000">
                <a:pos x="wd2" y="hd2"/>
              </a:cxn>
            </a:cxnLst>
            <a:rect l="0" t="0" r="r" b="b"/>
            <a:pathLst>
              <a:path w="21600" h="21600" extrusionOk="0">
                <a:moveTo>
                  <a:pt x="14003" y="0"/>
                </a:moveTo>
                <a:lnTo>
                  <a:pt x="0" y="0"/>
                </a:lnTo>
                <a:lnTo>
                  <a:pt x="0" y="21600"/>
                </a:lnTo>
                <a:lnTo>
                  <a:pt x="21600" y="21600"/>
                </a:lnTo>
                <a:lnTo>
                  <a:pt x="21600" y="10001"/>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28" name="Title 1">
            <a:extLst>
              <a:ext uri="{FF2B5EF4-FFF2-40B4-BE49-F238E27FC236}">
                <a16:creationId xmlns:a16="http://schemas.microsoft.com/office/drawing/2014/main" id="{946BF2A4-2203-49A4-A0A3-F3320F75E71D}"/>
              </a:ext>
            </a:extLst>
          </p:cNvPr>
          <p:cNvSpPr>
            <a:spLocks noGrp="1"/>
          </p:cNvSpPr>
          <p:nvPr>
            <p:ph type="title"/>
          </p:nvPr>
        </p:nvSpPr>
        <p:spPr>
          <a:xfrm>
            <a:off x="838201" y="365126"/>
            <a:ext cx="8705193" cy="1325563"/>
          </a:xfrm>
        </p:spPr>
        <p:txBody>
          <a:bodyPr/>
          <a:lstStyle>
            <a:lvl1pPr>
              <a:defRPr>
                <a:solidFill>
                  <a:schemeClr val="bg1"/>
                </a:solidFill>
              </a:defRPr>
            </a:lvl1pPr>
          </a:lstStyle>
          <a:p>
            <a:r>
              <a:rPr lang="en-US" dirty="0"/>
              <a:t>Click to edit Master title style</a:t>
            </a:r>
          </a:p>
        </p:txBody>
      </p:sp>
      <p:sp>
        <p:nvSpPr>
          <p:cNvPr id="29" name="Content Placeholder 2">
            <a:extLst>
              <a:ext uri="{FF2B5EF4-FFF2-40B4-BE49-F238E27FC236}">
                <a16:creationId xmlns:a16="http://schemas.microsoft.com/office/drawing/2014/main" id="{EE36C935-202C-45E1-AAC2-E76C25781D89}"/>
              </a:ext>
            </a:extLst>
          </p:cNvPr>
          <p:cNvSpPr>
            <a:spLocks noGrp="1"/>
          </p:cNvSpPr>
          <p:nvPr>
            <p:ph idx="1"/>
          </p:nvPr>
        </p:nvSpPr>
        <p:spPr>
          <a:xfrm>
            <a:off x="838201" y="1825625"/>
            <a:ext cx="9770241"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Date Placeholder 3">
            <a:extLst>
              <a:ext uri="{FF2B5EF4-FFF2-40B4-BE49-F238E27FC236}">
                <a16:creationId xmlns:a16="http://schemas.microsoft.com/office/drawing/2014/main" id="{74413308-021A-4482-BA51-2E12E6BAE79E}"/>
              </a:ext>
            </a:extLst>
          </p:cNvPr>
          <p:cNvSpPr>
            <a:spLocks noGrp="1"/>
          </p:cNvSpPr>
          <p:nvPr>
            <p:ph type="dt" sz="half" idx="10"/>
          </p:nvPr>
        </p:nvSpPr>
        <p:spPr>
          <a:xfrm>
            <a:off x="838200" y="6356351"/>
            <a:ext cx="2743200" cy="365125"/>
          </a:xfrm>
        </p:spPr>
        <p:txBody>
          <a:bodyPr/>
          <a:lstStyle>
            <a:lvl1pPr>
              <a:defRPr>
                <a:solidFill>
                  <a:schemeClr val="tx1">
                    <a:lumMod val="50000"/>
                    <a:lumOff val="50000"/>
                  </a:schemeClr>
                </a:solidFill>
              </a:defRPr>
            </a:lvl1pPr>
          </a:lstStyle>
          <a:p>
            <a:r>
              <a:rPr lang="en-US"/>
              <a:t>Date</a:t>
            </a:r>
            <a:endParaRPr lang="en-US">
              <a:solidFill>
                <a:schemeClr val="tx1">
                  <a:lumMod val="50000"/>
                  <a:lumOff val="50000"/>
                </a:schemeClr>
              </a:solidFill>
            </a:endParaRPr>
          </a:p>
        </p:txBody>
      </p:sp>
      <p:sp>
        <p:nvSpPr>
          <p:cNvPr id="31" name="Footer Placeholder 4">
            <a:extLst>
              <a:ext uri="{FF2B5EF4-FFF2-40B4-BE49-F238E27FC236}">
                <a16:creationId xmlns:a16="http://schemas.microsoft.com/office/drawing/2014/main" id="{F5ABE93D-47C7-4C5D-9CBC-D68A4B8C5E0A}"/>
              </a:ext>
            </a:extLst>
          </p:cNvPr>
          <p:cNvSpPr>
            <a:spLocks noGrp="1"/>
          </p:cNvSpPr>
          <p:nvPr>
            <p:ph type="ftr" sz="quarter" idx="11"/>
          </p:nvPr>
        </p:nvSpPr>
        <p:spPr>
          <a:xfrm>
            <a:off x="4038600" y="6356351"/>
            <a:ext cx="4114800" cy="365125"/>
          </a:xfrm>
        </p:spPr>
        <p:txBody>
          <a:bodyPr/>
          <a:lstStyle>
            <a:lvl1pPr>
              <a:defRPr>
                <a:solidFill>
                  <a:schemeClr val="tx1">
                    <a:lumMod val="50000"/>
                    <a:lumOff val="50000"/>
                  </a:schemeClr>
                </a:solidFill>
              </a:defRPr>
            </a:lvl1pPr>
          </a:lstStyle>
          <a:p>
            <a:r>
              <a:rPr lang="en-US"/>
              <a:t>Your Footer Here</a:t>
            </a:r>
            <a:endParaRPr lang="en-US">
              <a:solidFill>
                <a:schemeClr val="tx1">
                  <a:lumMod val="50000"/>
                  <a:lumOff val="50000"/>
                </a:schemeClr>
              </a:solidFill>
            </a:endParaRPr>
          </a:p>
        </p:txBody>
      </p:sp>
      <p:sp>
        <p:nvSpPr>
          <p:cNvPr id="32" name="Slide Number Placeholder 5">
            <a:extLst>
              <a:ext uri="{FF2B5EF4-FFF2-40B4-BE49-F238E27FC236}">
                <a16:creationId xmlns:a16="http://schemas.microsoft.com/office/drawing/2014/main" id="{58BE1DA5-7A31-4970-8B1A-A57B63F7BC7D}"/>
              </a:ext>
            </a:extLst>
          </p:cNvPr>
          <p:cNvSpPr>
            <a:spLocks noGrp="1"/>
          </p:cNvSpPr>
          <p:nvPr>
            <p:ph type="sldNum" sz="quarter" idx="12"/>
          </p:nvPr>
        </p:nvSpPr>
        <p:spPr>
          <a:xfrm>
            <a:off x="8610600" y="6356351"/>
            <a:ext cx="2743200" cy="365125"/>
          </a:xfrm>
        </p:spPr>
        <p:txBody>
          <a:bodyPr/>
          <a:lstStyle>
            <a:lvl1pPr>
              <a:defRPr>
                <a:solidFill>
                  <a:schemeClr val="tx1">
                    <a:lumMod val="50000"/>
                    <a:lumOff val="50000"/>
                  </a:schemeClr>
                </a:solidFill>
              </a:defRPr>
            </a:lvl1pPr>
          </a:lstStyle>
          <a:p>
            <a:fld id="{83A218E8-C0C8-4525-BD5F-99356FF4A842}" type="slidenum">
              <a:rPr lang="en-US" smtClean="0"/>
              <a:pPr/>
              <a:t>‹#›</a:t>
            </a:fld>
            <a:endParaRPr lang="en-US"/>
          </a:p>
        </p:txBody>
      </p:sp>
      <p:sp>
        <p:nvSpPr>
          <p:cNvPr id="11" name="Shape">
            <a:extLst>
              <a:ext uri="{FF2B5EF4-FFF2-40B4-BE49-F238E27FC236}">
                <a16:creationId xmlns:a16="http://schemas.microsoft.com/office/drawing/2014/main" id="{7CFB1269-D0AA-E848-94D8-30E35259C391}"/>
              </a:ext>
            </a:extLst>
          </p:cNvPr>
          <p:cNvSpPr/>
          <p:nvPr/>
        </p:nvSpPr>
        <p:spPr>
          <a:xfrm>
            <a:off x="9422949" y="1"/>
            <a:ext cx="2769052" cy="2050470"/>
          </a:xfrm>
          <a:custGeom>
            <a:avLst/>
            <a:gdLst/>
            <a:ahLst/>
            <a:cxnLst>
              <a:cxn ang="0">
                <a:pos x="wd2" y="hd2"/>
              </a:cxn>
              <a:cxn ang="5400000">
                <a:pos x="wd2" y="hd2"/>
              </a:cxn>
              <a:cxn ang="10800000">
                <a:pos x="wd2" y="hd2"/>
              </a:cxn>
              <a:cxn ang="16200000">
                <a:pos x="wd2" y="hd2"/>
              </a:cxn>
            </a:cxnLst>
            <a:rect l="0" t="0" r="r" b="b"/>
            <a:pathLst>
              <a:path w="21600" h="21600" extrusionOk="0">
                <a:moveTo>
                  <a:pt x="4431" y="0"/>
                </a:moveTo>
                <a:lnTo>
                  <a:pt x="0" y="0"/>
                </a:lnTo>
                <a:lnTo>
                  <a:pt x="21600" y="21600"/>
                </a:lnTo>
                <a:lnTo>
                  <a:pt x="21600" y="17155"/>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Tree>
    <p:extLst>
      <p:ext uri="{BB962C8B-B14F-4D97-AF65-F5344CB8AC3E}">
        <p14:creationId xmlns:p14="http://schemas.microsoft.com/office/powerpoint/2010/main" val="1491563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7BAB661D-1F3E-1943-ADFD-15CB1EBDA6FE}"/>
              </a:ext>
            </a:extLst>
          </p:cNvPr>
          <p:cNvSpPr/>
          <p:nvPr/>
        </p:nvSpPr>
        <p:spPr>
          <a:xfrm>
            <a:off x="0" y="591968"/>
            <a:ext cx="12192000" cy="4744554"/>
          </a:xfrm>
          <a:custGeom>
            <a:avLst/>
            <a:gdLst>
              <a:gd name="connsiteX0" fmla="*/ 0 w 9144000"/>
              <a:gd name="connsiteY0" fmla="*/ 0 h 4744554"/>
              <a:gd name="connsiteX1" fmla="*/ 6218375 w 9144000"/>
              <a:gd name="connsiteY1" fmla="*/ 0 h 4744554"/>
              <a:gd name="connsiteX2" fmla="*/ 9144000 w 9144000"/>
              <a:gd name="connsiteY2" fmla="*/ 2881420 h 4744554"/>
              <a:gd name="connsiteX3" fmla="*/ 9144000 w 9144000"/>
              <a:gd name="connsiteY3" fmla="*/ 4744554 h 4744554"/>
              <a:gd name="connsiteX4" fmla="*/ 0 w 9144000"/>
              <a:gd name="connsiteY4" fmla="*/ 4744554 h 474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4744554">
                <a:moveTo>
                  <a:pt x="0" y="0"/>
                </a:moveTo>
                <a:lnTo>
                  <a:pt x="6218375" y="0"/>
                </a:lnTo>
                <a:lnTo>
                  <a:pt x="9144000" y="2881420"/>
                </a:lnTo>
                <a:lnTo>
                  <a:pt x="9144000" y="4744554"/>
                </a:lnTo>
                <a:lnTo>
                  <a:pt x="0" y="4744554"/>
                </a:lnTo>
                <a:close/>
              </a:path>
            </a:pathLst>
          </a:cu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2700">
            <a:miter lim="400000"/>
          </a:ln>
        </p:spPr>
        <p:txBody>
          <a:bodyPr wrap="square" lIns="38100" tIns="38100" rIns="38100" bIns="38100" anchor="ctr">
            <a:noAutofit/>
          </a:bodyPr>
          <a:lstStyle/>
          <a:p>
            <a:pPr>
              <a:defRPr sz="3000">
                <a:solidFill>
                  <a:srgbClr val="FFFFFF"/>
                </a:solidFill>
              </a:defRPr>
            </a:pPr>
            <a:endParaRPr sz="3000"/>
          </a:p>
        </p:txBody>
      </p:sp>
      <p:sp>
        <p:nvSpPr>
          <p:cNvPr id="17" name="Shape">
            <a:extLst>
              <a:ext uri="{FF2B5EF4-FFF2-40B4-BE49-F238E27FC236}">
                <a16:creationId xmlns:a16="http://schemas.microsoft.com/office/drawing/2014/main" id="{78CB229B-129D-C14B-96CD-97AE13139E30}"/>
              </a:ext>
            </a:extLst>
          </p:cNvPr>
          <p:cNvSpPr/>
          <p:nvPr/>
        </p:nvSpPr>
        <p:spPr>
          <a:xfrm>
            <a:off x="1" y="0"/>
            <a:ext cx="10573688" cy="6858000"/>
          </a:xfrm>
          <a:custGeom>
            <a:avLst/>
            <a:gdLst/>
            <a:ahLst/>
            <a:cxnLst>
              <a:cxn ang="0">
                <a:pos x="wd2" y="hd2"/>
              </a:cxn>
              <a:cxn ang="5400000">
                <a:pos x="wd2" y="hd2"/>
              </a:cxn>
              <a:cxn ang="10800000">
                <a:pos x="wd2" y="hd2"/>
              </a:cxn>
              <a:cxn ang="16200000">
                <a:pos x="wd2" y="hd2"/>
              </a:cxn>
            </a:cxnLst>
            <a:rect l="0" t="0" r="r" b="b"/>
            <a:pathLst>
              <a:path w="21600" h="21600" extrusionOk="0">
                <a:moveTo>
                  <a:pt x="2134" y="0"/>
                </a:moveTo>
                <a:lnTo>
                  <a:pt x="0" y="0"/>
                </a:lnTo>
                <a:lnTo>
                  <a:pt x="0" y="21600"/>
                </a:lnTo>
                <a:lnTo>
                  <a:pt x="21600" y="2160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0" name="Title 1">
            <a:extLst>
              <a:ext uri="{FF2B5EF4-FFF2-40B4-BE49-F238E27FC236}">
                <a16:creationId xmlns:a16="http://schemas.microsoft.com/office/drawing/2014/main" id="{17C3195D-1724-4A88-BD6D-9DFE6FCDC235}"/>
              </a:ext>
            </a:extLst>
          </p:cNvPr>
          <p:cNvSpPr>
            <a:spLocks noGrp="1"/>
          </p:cNvSpPr>
          <p:nvPr userDrawn="1">
            <p:ph type="title"/>
          </p:nvPr>
        </p:nvSpPr>
        <p:spPr>
          <a:xfrm>
            <a:off x="5227146" y="1408387"/>
            <a:ext cx="6120305" cy="3154089"/>
          </a:xfrm>
          <a:prstGeom prst="rect">
            <a:avLst/>
          </a:prstGeom>
        </p:spPr>
        <p:txBody>
          <a:bodyPr anchor="ctr"/>
          <a:lstStyle>
            <a:lvl1pPr algn="ctr">
              <a:defRPr sz="6000">
                <a:solidFill>
                  <a:schemeClr val="bg1"/>
                </a:solidFill>
              </a:defRPr>
            </a:lvl1pPr>
          </a:lstStyle>
          <a:p>
            <a:r>
              <a:rPr lang="en-US" dirty="0"/>
              <a:t>Click to edit Master title style</a:t>
            </a:r>
          </a:p>
        </p:txBody>
      </p:sp>
      <p:sp>
        <p:nvSpPr>
          <p:cNvPr id="11" name="Text Placeholder 2">
            <a:extLst>
              <a:ext uri="{FF2B5EF4-FFF2-40B4-BE49-F238E27FC236}">
                <a16:creationId xmlns:a16="http://schemas.microsoft.com/office/drawing/2014/main" id="{FA648EDA-6713-4A81-80F6-FECA02B6F6F4}"/>
              </a:ext>
            </a:extLst>
          </p:cNvPr>
          <p:cNvSpPr>
            <a:spLocks noGrp="1"/>
          </p:cNvSpPr>
          <p:nvPr userDrawn="1">
            <p:ph type="body" idx="1"/>
          </p:nvPr>
        </p:nvSpPr>
        <p:spPr>
          <a:xfrm>
            <a:off x="831851" y="5336522"/>
            <a:ext cx="7492343" cy="753128"/>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Date Placeholder 3">
            <a:extLst>
              <a:ext uri="{FF2B5EF4-FFF2-40B4-BE49-F238E27FC236}">
                <a16:creationId xmlns:a16="http://schemas.microsoft.com/office/drawing/2014/main" id="{C3199031-3894-4988-AD6A-1D5A1837ED28}"/>
              </a:ext>
            </a:extLst>
          </p:cNvPr>
          <p:cNvSpPr>
            <a:spLocks noGrp="1"/>
          </p:cNvSpPr>
          <p:nvPr userDrawn="1">
            <p:ph type="dt" sz="half" idx="10"/>
          </p:nvPr>
        </p:nvSpPr>
        <p:spPr>
          <a:xfrm>
            <a:off x="838200" y="6356351"/>
            <a:ext cx="2743200" cy="365125"/>
          </a:xfrm>
          <a:prstGeom prst="rect">
            <a:avLst/>
          </a:prstGeom>
        </p:spPr>
        <p:txBody>
          <a:bodyPr/>
          <a:lstStyle/>
          <a:p>
            <a:r>
              <a:rPr lang="en-US"/>
              <a:t>Date</a:t>
            </a:r>
          </a:p>
        </p:txBody>
      </p:sp>
      <p:sp>
        <p:nvSpPr>
          <p:cNvPr id="13" name="Footer Placeholder 4">
            <a:extLst>
              <a:ext uri="{FF2B5EF4-FFF2-40B4-BE49-F238E27FC236}">
                <a16:creationId xmlns:a16="http://schemas.microsoft.com/office/drawing/2014/main" id="{F5C51C7F-11B2-45E9-BD36-07AB456FB742}"/>
              </a:ext>
            </a:extLst>
          </p:cNvPr>
          <p:cNvSpPr>
            <a:spLocks noGrp="1"/>
          </p:cNvSpPr>
          <p:nvPr userDrawn="1">
            <p:ph type="ftr" sz="quarter" idx="11"/>
          </p:nvPr>
        </p:nvSpPr>
        <p:spPr>
          <a:xfrm>
            <a:off x="4038600" y="6356351"/>
            <a:ext cx="4114800" cy="365125"/>
          </a:xfrm>
          <a:prstGeom prst="rect">
            <a:avLst/>
          </a:prstGeom>
        </p:spPr>
        <p:txBody>
          <a:bodyPr/>
          <a:lstStyle/>
          <a:p>
            <a:r>
              <a:rPr lang="en-US"/>
              <a:t>Your Footer Here</a:t>
            </a:r>
          </a:p>
        </p:txBody>
      </p:sp>
      <p:sp>
        <p:nvSpPr>
          <p:cNvPr id="14" name="Slide Number Placeholder 5">
            <a:extLst>
              <a:ext uri="{FF2B5EF4-FFF2-40B4-BE49-F238E27FC236}">
                <a16:creationId xmlns:a16="http://schemas.microsoft.com/office/drawing/2014/main" id="{9BE049E1-FD38-4199-B011-6F9B783A5F0F}"/>
              </a:ext>
            </a:extLst>
          </p:cNvPr>
          <p:cNvSpPr>
            <a:spLocks noGrp="1"/>
          </p:cNvSpPr>
          <p:nvPr userDrawn="1">
            <p:ph type="sldNum" sz="quarter" idx="12"/>
          </p:nvPr>
        </p:nvSpPr>
        <p:spPr>
          <a:xfrm>
            <a:off x="8610600" y="6356351"/>
            <a:ext cx="2743200" cy="365125"/>
          </a:xfrm>
          <a:prstGeom prst="rect">
            <a:avLst/>
          </a:prstGeom>
        </p:spPr>
        <p:txBody>
          <a:bodyPr/>
          <a:lstStyle/>
          <a:p>
            <a:fld id="{9319E888-69DF-4A19-BF5D-F6CF70DE7D06}" type="slidenum">
              <a:rPr lang="en-US" smtClean="0"/>
              <a:t>‹#›</a:t>
            </a:fld>
            <a:endParaRPr lang="en-US"/>
          </a:p>
        </p:txBody>
      </p:sp>
      <p:sp>
        <p:nvSpPr>
          <p:cNvPr id="15" name="Shape">
            <a:extLst>
              <a:ext uri="{FF2B5EF4-FFF2-40B4-BE49-F238E27FC236}">
                <a16:creationId xmlns:a16="http://schemas.microsoft.com/office/drawing/2014/main" id="{0F79C1E2-54F4-4E6C-8388-D934BC490A6F}"/>
              </a:ext>
            </a:extLst>
          </p:cNvPr>
          <p:cNvSpPr/>
          <p:nvPr userDrawn="1"/>
        </p:nvSpPr>
        <p:spPr>
          <a:xfrm>
            <a:off x="8879630" y="2"/>
            <a:ext cx="2592164" cy="1498809"/>
          </a:xfrm>
          <a:custGeom>
            <a:avLst/>
            <a:gdLst/>
            <a:ahLst/>
            <a:cxnLst>
              <a:cxn ang="0">
                <a:pos x="wd2" y="hd2"/>
              </a:cxn>
              <a:cxn ang="5400000">
                <a:pos x="wd2" y="hd2"/>
              </a:cxn>
              <a:cxn ang="10800000">
                <a:pos x="wd2" y="hd2"/>
              </a:cxn>
              <a:cxn ang="16200000">
                <a:pos x="wd2" y="hd2"/>
              </a:cxn>
            </a:cxnLst>
            <a:rect l="0" t="0" r="r" b="b"/>
            <a:pathLst>
              <a:path w="21600" h="21600" extrusionOk="0">
                <a:moveTo>
                  <a:pt x="4734" y="0"/>
                </a:moveTo>
                <a:lnTo>
                  <a:pt x="0" y="0"/>
                </a:lnTo>
                <a:lnTo>
                  <a:pt x="16866" y="21600"/>
                </a:lnTo>
                <a:lnTo>
                  <a:pt x="21600" y="2160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sz="3000"/>
          </a:p>
        </p:txBody>
      </p:sp>
      <p:sp>
        <p:nvSpPr>
          <p:cNvPr id="16" name="Shape">
            <a:extLst>
              <a:ext uri="{FF2B5EF4-FFF2-40B4-BE49-F238E27FC236}">
                <a16:creationId xmlns:a16="http://schemas.microsoft.com/office/drawing/2014/main" id="{2ECFA682-2DF0-4FAD-869D-60C2AD32E162}"/>
              </a:ext>
            </a:extLst>
          </p:cNvPr>
          <p:cNvSpPr/>
          <p:nvPr userDrawn="1"/>
        </p:nvSpPr>
        <p:spPr>
          <a:xfrm>
            <a:off x="9422949" y="1"/>
            <a:ext cx="2769052" cy="2050470"/>
          </a:xfrm>
          <a:custGeom>
            <a:avLst/>
            <a:gdLst/>
            <a:ahLst/>
            <a:cxnLst>
              <a:cxn ang="0">
                <a:pos x="wd2" y="hd2"/>
              </a:cxn>
              <a:cxn ang="5400000">
                <a:pos x="wd2" y="hd2"/>
              </a:cxn>
              <a:cxn ang="10800000">
                <a:pos x="wd2" y="hd2"/>
              </a:cxn>
              <a:cxn ang="16200000">
                <a:pos x="wd2" y="hd2"/>
              </a:cxn>
            </a:cxnLst>
            <a:rect l="0" t="0" r="r" b="b"/>
            <a:pathLst>
              <a:path w="21600" h="21600" extrusionOk="0">
                <a:moveTo>
                  <a:pt x="4431" y="0"/>
                </a:moveTo>
                <a:lnTo>
                  <a:pt x="0" y="0"/>
                </a:lnTo>
                <a:lnTo>
                  <a:pt x="21600" y="21600"/>
                </a:lnTo>
                <a:lnTo>
                  <a:pt x="21600" y="17155"/>
                </a:lnTo>
                <a:close/>
              </a:path>
            </a:pathLst>
          </a:cu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2700">
            <a:miter lim="400000"/>
          </a:ln>
        </p:spPr>
        <p:txBody>
          <a:bodyPr lIns="38100" tIns="38100" rIns="38100" bIns="38100" anchor="ctr"/>
          <a:lstStyle/>
          <a:p>
            <a:pPr lvl="0"/>
            <a:endParaRPr sz="3000">
              <a:solidFill>
                <a:srgbClr val="FFFFFF"/>
              </a:solidFill>
            </a:endParaRPr>
          </a:p>
        </p:txBody>
      </p:sp>
    </p:spTree>
    <p:extLst>
      <p:ext uri="{BB962C8B-B14F-4D97-AF65-F5344CB8AC3E}">
        <p14:creationId xmlns:p14="http://schemas.microsoft.com/office/powerpoint/2010/main" val="33044963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77C72F34-24AC-7F42-ABB4-EA441DEA9F89}"/>
              </a:ext>
            </a:extLst>
          </p:cNvPr>
          <p:cNvSpPr>
            <a:spLocks noGrp="1"/>
          </p:cNvSpPr>
          <p:nvPr>
            <p:ph type="pic" sz="quarter" idx="17"/>
          </p:nvPr>
        </p:nvSpPr>
        <p:spPr>
          <a:xfrm>
            <a:off x="702467" y="0"/>
            <a:ext cx="11489533" cy="6858000"/>
          </a:xfrm>
        </p:spPr>
        <p:txBody>
          <a:bodyPr tIns="457200" anchor="t"/>
          <a:lstStyle>
            <a:lvl1pPr algn="ctr">
              <a:buNone/>
              <a:defRPr/>
            </a:lvl1pPr>
          </a:lstStyle>
          <a:p>
            <a:endParaRPr lang="en-US"/>
          </a:p>
        </p:txBody>
      </p:sp>
      <p:sp>
        <p:nvSpPr>
          <p:cNvPr id="10" name="Title 1">
            <a:extLst>
              <a:ext uri="{FF2B5EF4-FFF2-40B4-BE49-F238E27FC236}">
                <a16:creationId xmlns:a16="http://schemas.microsoft.com/office/drawing/2014/main" id="{DA380202-F3F2-4AC0-8936-ED6BADE05631}"/>
              </a:ext>
            </a:extLst>
          </p:cNvPr>
          <p:cNvSpPr>
            <a:spLocks noGrp="1"/>
          </p:cNvSpPr>
          <p:nvPr>
            <p:ph type="title"/>
          </p:nvPr>
        </p:nvSpPr>
        <p:spPr>
          <a:xfrm>
            <a:off x="7062953" y="2642439"/>
            <a:ext cx="4694620" cy="2392017"/>
          </a:xfrm>
          <a:prstGeom prst="rect">
            <a:avLst/>
          </a:prstGeom>
        </p:spPr>
        <p:txBody>
          <a:bodyPr anchor="ctr"/>
          <a:lstStyle>
            <a:lvl1pPr algn="ctr">
              <a:defRPr sz="6000">
                <a:solidFill>
                  <a:schemeClr val="bg1"/>
                </a:solidFill>
              </a:defRPr>
            </a:lvl1pPr>
          </a:lstStyle>
          <a:p>
            <a:r>
              <a:rPr lang="en-US" dirty="0"/>
              <a:t>Click to edit Master title style</a:t>
            </a:r>
          </a:p>
        </p:txBody>
      </p:sp>
      <p:sp>
        <p:nvSpPr>
          <p:cNvPr id="11" name="Text Placeholder 2">
            <a:extLst>
              <a:ext uri="{FF2B5EF4-FFF2-40B4-BE49-F238E27FC236}">
                <a16:creationId xmlns:a16="http://schemas.microsoft.com/office/drawing/2014/main" id="{557C91EF-9ECF-426B-B335-36ED8057F197}"/>
              </a:ext>
            </a:extLst>
          </p:cNvPr>
          <p:cNvSpPr>
            <a:spLocks noGrp="1"/>
          </p:cNvSpPr>
          <p:nvPr>
            <p:ph type="body" idx="1"/>
          </p:nvPr>
        </p:nvSpPr>
        <p:spPr>
          <a:xfrm>
            <a:off x="831851" y="5412828"/>
            <a:ext cx="5712591" cy="676822"/>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Date Placeholder 3">
            <a:extLst>
              <a:ext uri="{FF2B5EF4-FFF2-40B4-BE49-F238E27FC236}">
                <a16:creationId xmlns:a16="http://schemas.microsoft.com/office/drawing/2014/main" id="{8242CDC6-C80B-4491-B1E2-366FDCB68A50}"/>
              </a:ext>
            </a:extLst>
          </p:cNvPr>
          <p:cNvSpPr>
            <a:spLocks noGrp="1"/>
          </p:cNvSpPr>
          <p:nvPr>
            <p:ph type="dt" sz="half" idx="10"/>
          </p:nvPr>
        </p:nvSpPr>
        <p:spPr>
          <a:xfrm>
            <a:off x="838200" y="6356351"/>
            <a:ext cx="2743200" cy="365125"/>
          </a:xfrm>
          <a:prstGeom prst="rect">
            <a:avLst/>
          </a:prstGeom>
        </p:spPr>
        <p:txBody>
          <a:bodyPr/>
          <a:lstStyle/>
          <a:p>
            <a:r>
              <a:rPr lang="en-US"/>
              <a:t>Date</a:t>
            </a:r>
          </a:p>
        </p:txBody>
      </p:sp>
      <p:sp>
        <p:nvSpPr>
          <p:cNvPr id="13" name="Footer Placeholder 4">
            <a:extLst>
              <a:ext uri="{FF2B5EF4-FFF2-40B4-BE49-F238E27FC236}">
                <a16:creationId xmlns:a16="http://schemas.microsoft.com/office/drawing/2014/main" id="{854C03DC-D27B-4334-B9C0-FE0B3C2E5722}"/>
              </a:ext>
            </a:extLst>
          </p:cNvPr>
          <p:cNvSpPr>
            <a:spLocks noGrp="1"/>
          </p:cNvSpPr>
          <p:nvPr>
            <p:ph type="ftr" sz="quarter" idx="11"/>
          </p:nvPr>
        </p:nvSpPr>
        <p:spPr>
          <a:xfrm>
            <a:off x="4038600" y="6356351"/>
            <a:ext cx="4114800" cy="365125"/>
          </a:xfrm>
          <a:prstGeom prst="rect">
            <a:avLst/>
          </a:prstGeom>
        </p:spPr>
        <p:txBody>
          <a:bodyPr/>
          <a:lstStyle/>
          <a:p>
            <a:r>
              <a:rPr lang="en-US"/>
              <a:t>Your Footer Here</a:t>
            </a:r>
          </a:p>
        </p:txBody>
      </p:sp>
      <p:sp>
        <p:nvSpPr>
          <p:cNvPr id="14" name="Slide Number Placeholder 5">
            <a:extLst>
              <a:ext uri="{FF2B5EF4-FFF2-40B4-BE49-F238E27FC236}">
                <a16:creationId xmlns:a16="http://schemas.microsoft.com/office/drawing/2014/main" id="{71518FF9-282A-4BBA-A731-44ABDF5A3329}"/>
              </a:ext>
            </a:extLst>
          </p:cNvPr>
          <p:cNvSpPr>
            <a:spLocks noGrp="1"/>
          </p:cNvSpPr>
          <p:nvPr>
            <p:ph type="sldNum" sz="quarter" idx="12"/>
          </p:nvPr>
        </p:nvSpPr>
        <p:spPr>
          <a:xfrm>
            <a:off x="8610600" y="6356351"/>
            <a:ext cx="2743200" cy="365125"/>
          </a:xfrm>
          <a:prstGeom prst="rect">
            <a:avLst/>
          </a:prstGeom>
        </p:spPr>
        <p:txBody>
          <a:bodyPr/>
          <a:lstStyle/>
          <a:p>
            <a:fld id="{9319E888-69DF-4A19-BF5D-F6CF70DE7D06}" type="slidenum">
              <a:rPr lang="en-US" smtClean="0"/>
              <a:t>‹#›</a:t>
            </a:fld>
            <a:endParaRPr lang="en-US"/>
          </a:p>
        </p:txBody>
      </p:sp>
    </p:spTree>
    <p:extLst>
      <p:ext uri="{BB962C8B-B14F-4D97-AF65-F5344CB8AC3E}">
        <p14:creationId xmlns:p14="http://schemas.microsoft.com/office/powerpoint/2010/main" val="2906228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E401285-0A6E-4F70-86DB-227CB70FE112}"/>
              </a:ext>
            </a:extLst>
          </p:cNvPr>
          <p:cNvSpPr>
            <a:spLocks noGrp="1"/>
          </p:cNvSpPr>
          <p:nvPr>
            <p:ph type="title"/>
          </p:nvPr>
        </p:nvSpPr>
        <p:spPr>
          <a:xfrm>
            <a:off x="3265214" y="1709739"/>
            <a:ext cx="8082237" cy="2852737"/>
          </a:xfrm>
          <a:prstGeom prst="rect">
            <a:avLst/>
          </a:prstGeom>
        </p:spPr>
        <p:txBody>
          <a:bodyPr anchor="b"/>
          <a:lstStyle>
            <a:lvl1pPr>
              <a:defRPr sz="6000">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4A11A794-A338-4A3D-A44B-9F224F209EE9}"/>
              </a:ext>
            </a:extLst>
          </p:cNvPr>
          <p:cNvSpPr>
            <a:spLocks noGrp="1"/>
          </p:cNvSpPr>
          <p:nvPr>
            <p:ph type="body" idx="1"/>
          </p:nvPr>
        </p:nvSpPr>
        <p:spPr>
          <a:xfrm>
            <a:off x="3265214" y="4589464"/>
            <a:ext cx="8082237" cy="1500187"/>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Date Placeholder 3">
            <a:extLst>
              <a:ext uri="{FF2B5EF4-FFF2-40B4-BE49-F238E27FC236}">
                <a16:creationId xmlns:a16="http://schemas.microsoft.com/office/drawing/2014/main" id="{F084121D-C173-41BF-A8BF-A7307C52D566}"/>
              </a:ext>
            </a:extLst>
          </p:cNvPr>
          <p:cNvSpPr>
            <a:spLocks noGrp="1"/>
          </p:cNvSpPr>
          <p:nvPr>
            <p:ph type="dt" sz="half" idx="10"/>
          </p:nvPr>
        </p:nvSpPr>
        <p:spPr>
          <a:xfrm>
            <a:off x="838200" y="6356351"/>
            <a:ext cx="2743200" cy="365125"/>
          </a:xfrm>
          <a:prstGeom prst="rect">
            <a:avLst/>
          </a:prstGeom>
        </p:spPr>
        <p:txBody>
          <a:bodyPr/>
          <a:lstStyle>
            <a:lvl1pPr>
              <a:defRPr>
                <a:solidFill>
                  <a:schemeClr val="tx1"/>
                </a:solidFill>
              </a:defRPr>
            </a:lvl1pPr>
          </a:lstStyle>
          <a:p>
            <a:r>
              <a:rPr lang="en-US"/>
              <a:t>Date</a:t>
            </a:r>
            <a:endParaRPr lang="en-US">
              <a:solidFill>
                <a:schemeClr val="tx1"/>
              </a:solidFill>
            </a:endParaRPr>
          </a:p>
        </p:txBody>
      </p:sp>
      <p:sp>
        <p:nvSpPr>
          <p:cNvPr id="13" name="Footer Placeholder 4">
            <a:extLst>
              <a:ext uri="{FF2B5EF4-FFF2-40B4-BE49-F238E27FC236}">
                <a16:creationId xmlns:a16="http://schemas.microsoft.com/office/drawing/2014/main" id="{D7E377AD-FE2F-4ACD-975A-1CA31E6EAF7F}"/>
              </a:ext>
            </a:extLst>
          </p:cNvPr>
          <p:cNvSpPr>
            <a:spLocks noGrp="1"/>
          </p:cNvSpPr>
          <p:nvPr>
            <p:ph type="ftr" sz="quarter" idx="11"/>
          </p:nvPr>
        </p:nvSpPr>
        <p:spPr>
          <a:xfrm>
            <a:off x="4038600" y="6356351"/>
            <a:ext cx="4114800" cy="365125"/>
          </a:xfrm>
          <a:prstGeom prst="rect">
            <a:avLst/>
          </a:prstGeom>
        </p:spPr>
        <p:txBody>
          <a:bodyPr/>
          <a:lstStyle>
            <a:lvl1pPr>
              <a:defRPr>
                <a:solidFill>
                  <a:schemeClr val="tx1"/>
                </a:solidFill>
              </a:defRPr>
            </a:lvl1pPr>
          </a:lstStyle>
          <a:p>
            <a:r>
              <a:rPr lang="en-US"/>
              <a:t>Your Footer Here</a:t>
            </a:r>
            <a:endParaRPr lang="en-US">
              <a:solidFill>
                <a:schemeClr val="tx1"/>
              </a:solidFill>
            </a:endParaRPr>
          </a:p>
        </p:txBody>
      </p:sp>
      <p:sp>
        <p:nvSpPr>
          <p:cNvPr id="14" name="Slide Number Placeholder 5">
            <a:extLst>
              <a:ext uri="{FF2B5EF4-FFF2-40B4-BE49-F238E27FC236}">
                <a16:creationId xmlns:a16="http://schemas.microsoft.com/office/drawing/2014/main" id="{8DD8FB59-3532-4BA9-BBBF-A18CF50441F8}"/>
              </a:ext>
            </a:extLst>
          </p:cNvPr>
          <p:cNvSpPr>
            <a:spLocks noGrp="1"/>
          </p:cNvSpPr>
          <p:nvPr>
            <p:ph type="sldNum" sz="quarter" idx="12"/>
          </p:nvPr>
        </p:nvSpPr>
        <p:spPr>
          <a:xfrm>
            <a:off x="8610600" y="6356351"/>
            <a:ext cx="2743200" cy="365125"/>
          </a:xfrm>
          <a:prstGeom prst="rect">
            <a:avLst/>
          </a:prstGeom>
        </p:spPr>
        <p:txBody>
          <a:bodyPr/>
          <a:lstStyle>
            <a:lvl1pPr>
              <a:defRPr>
                <a:solidFill>
                  <a:schemeClr val="tx1"/>
                </a:solidFill>
              </a:defRPr>
            </a:lvl1pPr>
          </a:lstStyle>
          <a:p>
            <a:fld id="{9319E888-69DF-4A19-BF5D-F6CF70DE7D06}" type="slidenum">
              <a:rPr lang="en-US" smtClean="0"/>
              <a:pPr/>
              <a:t>‹#›</a:t>
            </a:fld>
            <a:endParaRPr lang="en-US"/>
          </a:p>
        </p:txBody>
      </p:sp>
      <p:sp>
        <p:nvSpPr>
          <p:cNvPr id="18" name="Text Placeholder 17">
            <a:extLst>
              <a:ext uri="{FF2B5EF4-FFF2-40B4-BE49-F238E27FC236}">
                <a16:creationId xmlns:a16="http://schemas.microsoft.com/office/drawing/2014/main" id="{88B00100-82A6-46DB-AB35-5266F91AE755}"/>
              </a:ext>
            </a:extLst>
          </p:cNvPr>
          <p:cNvSpPr>
            <a:spLocks noGrp="1"/>
          </p:cNvSpPr>
          <p:nvPr>
            <p:ph type="body" sz="quarter" idx="14" hasCustomPrompt="1"/>
          </p:nvPr>
        </p:nvSpPr>
        <p:spPr>
          <a:xfrm>
            <a:off x="5104451" y="373244"/>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Name</a:t>
            </a:r>
          </a:p>
        </p:txBody>
      </p:sp>
      <p:sp>
        <p:nvSpPr>
          <p:cNvPr id="19" name="Text Placeholder 17">
            <a:extLst>
              <a:ext uri="{FF2B5EF4-FFF2-40B4-BE49-F238E27FC236}">
                <a16:creationId xmlns:a16="http://schemas.microsoft.com/office/drawing/2014/main" id="{CCE23A20-9D3A-4A2C-8AD2-D6BCBFFE8052}"/>
              </a:ext>
            </a:extLst>
          </p:cNvPr>
          <p:cNvSpPr>
            <a:spLocks noGrp="1"/>
          </p:cNvSpPr>
          <p:nvPr>
            <p:ph type="body" sz="quarter" idx="15" hasCustomPrompt="1"/>
          </p:nvPr>
        </p:nvSpPr>
        <p:spPr>
          <a:xfrm>
            <a:off x="5104451" y="603312"/>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obile / email</a:t>
            </a:r>
          </a:p>
        </p:txBody>
      </p:sp>
      <p:sp>
        <p:nvSpPr>
          <p:cNvPr id="20" name="Text Placeholder 17">
            <a:extLst>
              <a:ext uri="{FF2B5EF4-FFF2-40B4-BE49-F238E27FC236}">
                <a16:creationId xmlns:a16="http://schemas.microsoft.com/office/drawing/2014/main" id="{7686557C-B6EC-41CF-A5C6-C78D6675CEFD}"/>
              </a:ext>
            </a:extLst>
          </p:cNvPr>
          <p:cNvSpPr>
            <a:spLocks noGrp="1"/>
          </p:cNvSpPr>
          <p:nvPr>
            <p:ph type="body" sz="quarter" idx="16" hasCustomPrompt="1"/>
          </p:nvPr>
        </p:nvSpPr>
        <p:spPr>
          <a:xfrm>
            <a:off x="5104451" y="833380"/>
            <a:ext cx="2269067" cy="228600"/>
          </a:xfrm>
          <a:noFill/>
        </p:spPr>
        <p:txBody>
          <a:bodyPr anchor="ctr">
            <a:noAutofit/>
          </a:bodyPr>
          <a:lstStyle>
            <a:lvl1pPr marL="0" indent="0" algn="ctr">
              <a:buNone/>
              <a:defRPr sz="1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ompany</a:t>
            </a:r>
          </a:p>
        </p:txBody>
      </p:sp>
      <p:sp>
        <p:nvSpPr>
          <p:cNvPr id="3" name="Picture Placeholder 2">
            <a:extLst>
              <a:ext uri="{FF2B5EF4-FFF2-40B4-BE49-F238E27FC236}">
                <a16:creationId xmlns:a16="http://schemas.microsoft.com/office/drawing/2014/main" id="{AD323082-A45C-1747-99E9-0036DEBA86E2}"/>
              </a:ext>
            </a:extLst>
          </p:cNvPr>
          <p:cNvSpPr>
            <a:spLocks noGrp="1"/>
          </p:cNvSpPr>
          <p:nvPr>
            <p:ph type="pic" sz="quarter" idx="17"/>
          </p:nvPr>
        </p:nvSpPr>
        <p:spPr>
          <a:xfrm>
            <a:off x="7374467" y="1"/>
            <a:ext cx="4817533" cy="4035425"/>
          </a:xfrm>
        </p:spPr>
        <p:txBody>
          <a:bodyPr anchor="ctr"/>
          <a:lstStyle>
            <a:lvl1pPr algn="ctr">
              <a:buNone/>
              <a:defRPr/>
            </a:lvl1pPr>
          </a:lstStyle>
          <a:p>
            <a:endParaRPr lang="en-US"/>
          </a:p>
        </p:txBody>
      </p:sp>
    </p:spTree>
    <p:extLst>
      <p:ext uri="{BB962C8B-B14F-4D97-AF65-F5344CB8AC3E}">
        <p14:creationId xmlns:p14="http://schemas.microsoft.com/office/powerpoint/2010/main" val="551069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lor and Typography">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D64FDF5F-B87A-48FB-8836-28911241AE1C}"/>
              </a:ext>
            </a:extLst>
          </p:cNvPr>
          <p:cNvSpPr>
            <a:spLocks noGrp="1"/>
          </p:cNvSpPr>
          <p:nvPr>
            <p:ph type="title"/>
          </p:nvPr>
        </p:nvSpPr>
        <p:spPr>
          <a:xfrm>
            <a:off x="838200" y="365126"/>
            <a:ext cx="10515600" cy="1325563"/>
          </a:xfrm>
          <a:prstGeom prst="rect">
            <a:avLst/>
          </a:prstGeo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DC858C0-70A5-4521-A1D8-C1DA8BB60EF0}"/>
              </a:ext>
            </a:extLst>
          </p:cNvPr>
          <p:cNvSpPr>
            <a:spLocks noGrp="1"/>
          </p:cNvSpPr>
          <p:nvPr>
            <p:ph type="body" sz="quarter" idx="10"/>
          </p:nvPr>
        </p:nvSpPr>
        <p:spPr>
          <a:xfrm>
            <a:off x="838201" y="3709150"/>
            <a:ext cx="10515599" cy="1325880"/>
          </a:xfrm>
          <a:prstGeom prst="rect">
            <a:avLst/>
          </a:prstGeom>
        </p:spPr>
        <p:txBody>
          <a:bodyPr vert="horz" lIns="91440" tIns="45720" rIns="91440" bIns="45720" rtlCol="0" anchor="ctr">
            <a:normAutofit/>
          </a:bodyPr>
          <a:lstStyle>
            <a:lvl1pPr marL="0" indent="0">
              <a:buNone/>
              <a:defRPr lang="en-US" sz="4400" dirty="0" smtClean="0">
                <a:ln w="3175" cmpd="sng">
                  <a:noFill/>
                </a:ln>
                <a:latin typeface="+mj-lt"/>
                <a:ea typeface="+mj-ea"/>
              </a:defRPr>
            </a:lvl1pPr>
            <a:lvl2pPr>
              <a:defRPr lang="en-US" dirty="0" smtClean="0"/>
            </a:lvl2pPr>
            <a:lvl3pPr>
              <a:defRPr lang="en-US" dirty="0" smtClean="0"/>
            </a:lvl3pPr>
            <a:lvl4pPr>
              <a:defRPr lang="en-US" dirty="0" smtClean="0"/>
            </a:lvl4pPr>
            <a:lvl5pPr>
              <a:defRPr lang="en-US" dirty="0"/>
            </a:lvl5pPr>
          </a:lstStyle>
          <a:p>
            <a:pPr marL="228600" lvl="0" indent="-228600">
              <a:spcBef>
                <a:spcPct val="0"/>
              </a:spcBef>
            </a:pPr>
            <a:r>
              <a:rPr lang="en-US" dirty="0"/>
              <a:t>Click to edit Master text styles</a:t>
            </a:r>
          </a:p>
        </p:txBody>
      </p:sp>
      <p:sp>
        <p:nvSpPr>
          <p:cNvPr id="5" name="TextBox 4">
            <a:extLst>
              <a:ext uri="{FF2B5EF4-FFF2-40B4-BE49-F238E27FC236}">
                <a16:creationId xmlns:a16="http://schemas.microsoft.com/office/drawing/2014/main" id="{D268C047-D4C6-4716-A78B-EE5000FD1F52}"/>
              </a:ext>
            </a:extLst>
          </p:cNvPr>
          <p:cNvSpPr txBox="1"/>
          <p:nvPr userDrawn="1"/>
        </p:nvSpPr>
        <p:spPr>
          <a:xfrm>
            <a:off x="4610155" y="4033186"/>
            <a:ext cx="2435282" cy="2646878"/>
          </a:xfrm>
          <a:prstGeom prst="rect">
            <a:avLst/>
          </a:prstGeom>
          <a:noFill/>
        </p:spPr>
        <p:txBody>
          <a:bodyPr wrap="none" rtlCol="0">
            <a:spAutoFit/>
          </a:bodyPr>
          <a:lstStyle/>
          <a:p>
            <a:pPr algn="ctr"/>
            <a:r>
              <a:rPr lang="en-US" sz="16600" dirty="0"/>
              <a:t>Aa</a:t>
            </a:r>
          </a:p>
        </p:txBody>
      </p:sp>
      <p:sp>
        <p:nvSpPr>
          <p:cNvPr id="8" name="Text Placeholder 7">
            <a:extLst>
              <a:ext uri="{FF2B5EF4-FFF2-40B4-BE49-F238E27FC236}">
                <a16:creationId xmlns:a16="http://schemas.microsoft.com/office/drawing/2014/main" id="{806B303D-5E6A-47BF-AFC1-2852F337BEC7}"/>
              </a:ext>
            </a:extLst>
          </p:cNvPr>
          <p:cNvSpPr>
            <a:spLocks noGrp="1"/>
          </p:cNvSpPr>
          <p:nvPr>
            <p:ph type="body" sz="quarter" idx="11" hasCustomPrompt="1"/>
          </p:nvPr>
        </p:nvSpPr>
        <p:spPr>
          <a:xfrm>
            <a:off x="4231676" y="6125271"/>
            <a:ext cx="3192240" cy="564455"/>
          </a:xfrm>
          <a:prstGeom prst="rect">
            <a:avLst/>
          </a:prstGeom>
        </p:spPr>
        <p:txBody>
          <a:bodyPr anchor="ctr"/>
          <a:lstStyle>
            <a:lvl1pPr marL="0" indent="0" algn="ctr">
              <a:buNone/>
              <a:defRPr/>
            </a:lvl1pPr>
          </a:lstStyle>
          <a:p>
            <a:pPr lvl="0"/>
            <a:r>
              <a:rPr lang="en-US" dirty="0"/>
              <a:t>Font name</a:t>
            </a:r>
          </a:p>
        </p:txBody>
      </p:sp>
      <p:sp>
        <p:nvSpPr>
          <p:cNvPr id="161" name="TextBox 160">
            <a:extLst>
              <a:ext uri="{FF2B5EF4-FFF2-40B4-BE49-F238E27FC236}">
                <a16:creationId xmlns:a16="http://schemas.microsoft.com/office/drawing/2014/main" id="{CE4C982F-2435-454E-964B-6E2FA8DAE509}"/>
              </a:ext>
            </a:extLst>
          </p:cNvPr>
          <p:cNvSpPr txBox="1"/>
          <p:nvPr userDrawn="1"/>
        </p:nvSpPr>
        <p:spPr>
          <a:xfrm>
            <a:off x="8618348" y="4033186"/>
            <a:ext cx="2385589" cy="2646878"/>
          </a:xfrm>
          <a:prstGeom prst="rect">
            <a:avLst/>
          </a:prstGeom>
          <a:noFill/>
        </p:spPr>
        <p:txBody>
          <a:bodyPr wrap="none" rtlCol="0">
            <a:spAutoFit/>
          </a:bodyPr>
          <a:lstStyle/>
          <a:p>
            <a:pPr algn="ctr"/>
            <a:r>
              <a:rPr lang="en-US" sz="16600" dirty="0">
                <a:latin typeface="+mj-lt"/>
              </a:rPr>
              <a:t>Aa</a:t>
            </a:r>
          </a:p>
        </p:txBody>
      </p:sp>
      <p:sp>
        <p:nvSpPr>
          <p:cNvPr id="162" name="Text Placeholder 7">
            <a:extLst>
              <a:ext uri="{FF2B5EF4-FFF2-40B4-BE49-F238E27FC236}">
                <a16:creationId xmlns:a16="http://schemas.microsoft.com/office/drawing/2014/main" id="{D8C94DFA-96D0-4436-B11B-F4ECD914841B}"/>
              </a:ext>
            </a:extLst>
          </p:cNvPr>
          <p:cNvSpPr>
            <a:spLocks noGrp="1"/>
          </p:cNvSpPr>
          <p:nvPr>
            <p:ph type="body" sz="quarter" idx="12" hasCustomPrompt="1"/>
          </p:nvPr>
        </p:nvSpPr>
        <p:spPr>
          <a:xfrm>
            <a:off x="8215023" y="6125271"/>
            <a:ext cx="3192240" cy="564455"/>
          </a:xfrm>
          <a:prstGeom prst="rect">
            <a:avLst/>
          </a:prstGeom>
        </p:spPr>
        <p:txBody>
          <a:bodyPr anchor="ctr"/>
          <a:lstStyle>
            <a:lvl1pPr marL="0" indent="0" algn="ctr">
              <a:buNone/>
              <a:defRPr>
                <a:latin typeface="Calibri Light" panose="020F0302020204030204" pitchFamily="34" charset="0"/>
                <a:cs typeface="Calibri Light" panose="020F0302020204030204" pitchFamily="34" charset="0"/>
              </a:defRPr>
            </a:lvl1pPr>
          </a:lstStyle>
          <a:p>
            <a:pPr lvl="0"/>
            <a:r>
              <a:rPr lang="en-US" dirty="0"/>
              <a:t>Font name</a:t>
            </a:r>
          </a:p>
        </p:txBody>
      </p:sp>
      <p:grpSp>
        <p:nvGrpSpPr>
          <p:cNvPr id="2" name="Group 1">
            <a:extLst>
              <a:ext uri="{FF2B5EF4-FFF2-40B4-BE49-F238E27FC236}">
                <a16:creationId xmlns:a16="http://schemas.microsoft.com/office/drawing/2014/main" id="{26475A9A-CDDE-42D3-A31B-0620B825F2A0}"/>
              </a:ext>
            </a:extLst>
          </p:cNvPr>
          <p:cNvGrpSpPr/>
          <p:nvPr userDrawn="1"/>
        </p:nvGrpSpPr>
        <p:grpSpPr>
          <a:xfrm>
            <a:off x="838200" y="1946104"/>
            <a:ext cx="10521696" cy="1481328"/>
            <a:chOff x="628650" y="1946104"/>
            <a:chExt cx="7891272" cy="1481328"/>
          </a:xfrm>
        </p:grpSpPr>
        <p:sp>
          <p:nvSpPr>
            <p:cNvPr id="83" name="Rectangle 82">
              <a:extLst>
                <a:ext uri="{FF2B5EF4-FFF2-40B4-BE49-F238E27FC236}">
                  <a16:creationId xmlns:a16="http://schemas.microsoft.com/office/drawing/2014/main" id="{4D825DDC-B1B7-4A22-AE1A-DFFE8C468588}"/>
                </a:ext>
              </a:extLst>
            </p:cNvPr>
            <p:cNvSpPr/>
            <p:nvPr userDrawn="1"/>
          </p:nvSpPr>
          <p:spPr>
            <a:xfrm>
              <a:off x="628650" y="1946104"/>
              <a:ext cx="671123" cy="148132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4" name="Rectangle 83">
              <a:extLst>
                <a:ext uri="{FF2B5EF4-FFF2-40B4-BE49-F238E27FC236}">
                  <a16:creationId xmlns:a16="http://schemas.microsoft.com/office/drawing/2014/main" id="{CAC08C7C-E3C9-4D9C-80B0-16E41E85987D}"/>
                </a:ext>
              </a:extLst>
            </p:cNvPr>
            <p:cNvSpPr/>
            <p:nvPr userDrawn="1"/>
          </p:nvSpPr>
          <p:spPr>
            <a:xfrm>
              <a:off x="628650" y="1946104"/>
              <a:ext cx="671123" cy="13198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5" name="Rectangle 84">
              <a:extLst>
                <a:ext uri="{FF2B5EF4-FFF2-40B4-BE49-F238E27FC236}">
                  <a16:creationId xmlns:a16="http://schemas.microsoft.com/office/drawing/2014/main" id="{BA49656F-2DAE-40AB-AA90-DB2938FC49AC}"/>
                </a:ext>
              </a:extLst>
            </p:cNvPr>
            <p:cNvSpPr/>
            <p:nvPr userDrawn="1"/>
          </p:nvSpPr>
          <p:spPr>
            <a:xfrm>
              <a:off x="628650" y="1946104"/>
              <a:ext cx="671123" cy="11583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6" name="Rectangle 85">
              <a:extLst>
                <a:ext uri="{FF2B5EF4-FFF2-40B4-BE49-F238E27FC236}">
                  <a16:creationId xmlns:a16="http://schemas.microsoft.com/office/drawing/2014/main" id="{DCD712ED-28B0-410A-9BD1-7616FBF74042}"/>
                </a:ext>
              </a:extLst>
            </p:cNvPr>
            <p:cNvSpPr/>
            <p:nvPr userDrawn="1"/>
          </p:nvSpPr>
          <p:spPr>
            <a:xfrm>
              <a:off x="628650" y="1946104"/>
              <a:ext cx="671123" cy="9968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87" name="Rectangle 86">
              <a:extLst>
                <a:ext uri="{FF2B5EF4-FFF2-40B4-BE49-F238E27FC236}">
                  <a16:creationId xmlns:a16="http://schemas.microsoft.com/office/drawing/2014/main" id="{6849DA16-5630-42C0-B032-CF4E4236809C}"/>
                </a:ext>
              </a:extLst>
            </p:cNvPr>
            <p:cNvSpPr/>
            <p:nvPr userDrawn="1"/>
          </p:nvSpPr>
          <p:spPr>
            <a:xfrm>
              <a:off x="628650" y="1946104"/>
              <a:ext cx="671123" cy="8353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0" name="Rectangle 159">
              <a:extLst>
                <a:ext uri="{FF2B5EF4-FFF2-40B4-BE49-F238E27FC236}">
                  <a16:creationId xmlns:a16="http://schemas.microsoft.com/office/drawing/2014/main" id="{E6F035CF-B43D-439C-AD0F-8D953B579313}"/>
                </a:ext>
              </a:extLst>
            </p:cNvPr>
            <p:cNvSpPr/>
            <p:nvPr userDrawn="1"/>
          </p:nvSpPr>
          <p:spPr>
            <a:xfrm>
              <a:off x="628651" y="1946104"/>
              <a:ext cx="671123" cy="67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3" name="Rectangle 162">
              <a:extLst>
                <a:ext uri="{FF2B5EF4-FFF2-40B4-BE49-F238E27FC236}">
                  <a16:creationId xmlns:a16="http://schemas.microsoft.com/office/drawing/2014/main" id="{41E5DA4D-2356-4A5A-9A78-37FC3426A8A4}"/>
                </a:ext>
              </a:extLst>
            </p:cNvPr>
            <p:cNvSpPr/>
            <p:nvPr userDrawn="1"/>
          </p:nvSpPr>
          <p:spPr>
            <a:xfrm>
              <a:off x="1430889" y="1946104"/>
              <a:ext cx="671123" cy="148132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4" name="Rectangle 163">
              <a:extLst>
                <a:ext uri="{FF2B5EF4-FFF2-40B4-BE49-F238E27FC236}">
                  <a16:creationId xmlns:a16="http://schemas.microsoft.com/office/drawing/2014/main" id="{94FE7071-946A-4F12-893A-526B25468EB3}"/>
                </a:ext>
              </a:extLst>
            </p:cNvPr>
            <p:cNvSpPr/>
            <p:nvPr userDrawn="1"/>
          </p:nvSpPr>
          <p:spPr>
            <a:xfrm>
              <a:off x="1430889" y="1946104"/>
              <a:ext cx="671123" cy="131983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5" name="Rectangle 164">
              <a:extLst>
                <a:ext uri="{FF2B5EF4-FFF2-40B4-BE49-F238E27FC236}">
                  <a16:creationId xmlns:a16="http://schemas.microsoft.com/office/drawing/2014/main" id="{0B4820EC-57AA-49FD-9B74-B858DD1AE71D}"/>
                </a:ext>
              </a:extLst>
            </p:cNvPr>
            <p:cNvSpPr/>
            <p:nvPr userDrawn="1"/>
          </p:nvSpPr>
          <p:spPr>
            <a:xfrm>
              <a:off x="1430889" y="1946104"/>
              <a:ext cx="671123" cy="115833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6" name="Rectangle 165">
              <a:extLst>
                <a:ext uri="{FF2B5EF4-FFF2-40B4-BE49-F238E27FC236}">
                  <a16:creationId xmlns:a16="http://schemas.microsoft.com/office/drawing/2014/main" id="{829BCA57-159F-4238-A8C6-090DBF3ED9CB}"/>
                </a:ext>
              </a:extLst>
            </p:cNvPr>
            <p:cNvSpPr/>
            <p:nvPr userDrawn="1"/>
          </p:nvSpPr>
          <p:spPr>
            <a:xfrm>
              <a:off x="1430889" y="1946104"/>
              <a:ext cx="671123" cy="99683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7" name="Rectangle 166">
              <a:extLst>
                <a:ext uri="{FF2B5EF4-FFF2-40B4-BE49-F238E27FC236}">
                  <a16:creationId xmlns:a16="http://schemas.microsoft.com/office/drawing/2014/main" id="{220D4EDF-EA25-4D8A-B8A4-0AB513B97627}"/>
                </a:ext>
              </a:extLst>
            </p:cNvPr>
            <p:cNvSpPr/>
            <p:nvPr userDrawn="1"/>
          </p:nvSpPr>
          <p:spPr>
            <a:xfrm>
              <a:off x="1430889" y="1946104"/>
              <a:ext cx="671123" cy="83534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8" name="Rectangle 167">
              <a:extLst>
                <a:ext uri="{FF2B5EF4-FFF2-40B4-BE49-F238E27FC236}">
                  <a16:creationId xmlns:a16="http://schemas.microsoft.com/office/drawing/2014/main" id="{1D4305EB-B3E8-44B7-8B0F-EA03970179FF}"/>
                </a:ext>
              </a:extLst>
            </p:cNvPr>
            <p:cNvSpPr/>
            <p:nvPr userDrawn="1"/>
          </p:nvSpPr>
          <p:spPr>
            <a:xfrm>
              <a:off x="1430889" y="1946104"/>
              <a:ext cx="671123" cy="670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69" name="Rectangle 168">
              <a:extLst>
                <a:ext uri="{FF2B5EF4-FFF2-40B4-BE49-F238E27FC236}">
                  <a16:creationId xmlns:a16="http://schemas.microsoft.com/office/drawing/2014/main" id="{BF0C67D4-85EB-4EE5-AF2E-00FE916B8A04}"/>
                </a:ext>
              </a:extLst>
            </p:cNvPr>
            <p:cNvSpPr/>
            <p:nvPr userDrawn="1"/>
          </p:nvSpPr>
          <p:spPr>
            <a:xfrm>
              <a:off x="2233127" y="1946104"/>
              <a:ext cx="671123" cy="1481328"/>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0" name="Rectangle 169">
              <a:extLst>
                <a:ext uri="{FF2B5EF4-FFF2-40B4-BE49-F238E27FC236}">
                  <a16:creationId xmlns:a16="http://schemas.microsoft.com/office/drawing/2014/main" id="{7BDDFC57-9EC3-437D-B2FC-B6290981C500}"/>
                </a:ext>
              </a:extLst>
            </p:cNvPr>
            <p:cNvSpPr/>
            <p:nvPr userDrawn="1"/>
          </p:nvSpPr>
          <p:spPr>
            <a:xfrm>
              <a:off x="2233127" y="1946104"/>
              <a:ext cx="671123" cy="131983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1" name="Rectangle 170">
              <a:extLst>
                <a:ext uri="{FF2B5EF4-FFF2-40B4-BE49-F238E27FC236}">
                  <a16:creationId xmlns:a16="http://schemas.microsoft.com/office/drawing/2014/main" id="{A6BFD32E-3CA9-47B8-A9E9-842EB47B3C34}"/>
                </a:ext>
              </a:extLst>
            </p:cNvPr>
            <p:cNvSpPr/>
            <p:nvPr userDrawn="1"/>
          </p:nvSpPr>
          <p:spPr>
            <a:xfrm>
              <a:off x="2233127" y="1946104"/>
              <a:ext cx="671123" cy="115833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2" name="Rectangle 171">
              <a:extLst>
                <a:ext uri="{FF2B5EF4-FFF2-40B4-BE49-F238E27FC236}">
                  <a16:creationId xmlns:a16="http://schemas.microsoft.com/office/drawing/2014/main" id="{27F6C923-45B6-4A07-BF72-4EA3A79B94E2}"/>
                </a:ext>
              </a:extLst>
            </p:cNvPr>
            <p:cNvSpPr/>
            <p:nvPr userDrawn="1"/>
          </p:nvSpPr>
          <p:spPr>
            <a:xfrm>
              <a:off x="2233127" y="1946104"/>
              <a:ext cx="671123" cy="99683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3" name="Rectangle 172">
              <a:extLst>
                <a:ext uri="{FF2B5EF4-FFF2-40B4-BE49-F238E27FC236}">
                  <a16:creationId xmlns:a16="http://schemas.microsoft.com/office/drawing/2014/main" id="{6EDAF0FF-ED88-4001-ACE8-F2C99F0F6081}"/>
                </a:ext>
              </a:extLst>
            </p:cNvPr>
            <p:cNvSpPr/>
            <p:nvPr userDrawn="1"/>
          </p:nvSpPr>
          <p:spPr>
            <a:xfrm>
              <a:off x="2233127" y="1946104"/>
              <a:ext cx="671123" cy="8353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4" name="Rectangle 173">
              <a:extLst>
                <a:ext uri="{FF2B5EF4-FFF2-40B4-BE49-F238E27FC236}">
                  <a16:creationId xmlns:a16="http://schemas.microsoft.com/office/drawing/2014/main" id="{9BB3B5D8-C72B-482B-9920-23107B3B85FD}"/>
                </a:ext>
              </a:extLst>
            </p:cNvPr>
            <p:cNvSpPr/>
            <p:nvPr userDrawn="1"/>
          </p:nvSpPr>
          <p:spPr>
            <a:xfrm>
              <a:off x="2233128" y="1946104"/>
              <a:ext cx="671123" cy="670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5" name="Rectangle 174">
              <a:extLst>
                <a:ext uri="{FF2B5EF4-FFF2-40B4-BE49-F238E27FC236}">
                  <a16:creationId xmlns:a16="http://schemas.microsoft.com/office/drawing/2014/main" id="{2547ECFF-5A99-4BDD-9D82-AF7E2BC6ED91}"/>
                </a:ext>
              </a:extLst>
            </p:cNvPr>
            <p:cNvSpPr/>
            <p:nvPr userDrawn="1"/>
          </p:nvSpPr>
          <p:spPr>
            <a:xfrm>
              <a:off x="3035366" y="1946104"/>
              <a:ext cx="671123" cy="148132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6" name="Rectangle 175">
              <a:extLst>
                <a:ext uri="{FF2B5EF4-FFF2-40B4-BE49-F238E27FC236}">
                  <a16:creationId xmlns:a16="http://schemas.microsoft.com/office/drawing/2014/main" id="{D24D3EB6-7B2A-44AF-9F83-2EB304CB9012}"/>
                </a:ext>
              </a:extLst>
            </p:cNvPr>
            <p:cNvSpPr/>
            <p:nvPr userDrawn="1"/>
          </p:nvSpPr>
          <p:spPr>
            <a:xfrm>
              <a:off x="3035366" y="1946104"/>
              <a:ext cx="671123" cy="131983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7" name="Rectangle 176">
              <a:extLst>
                <a:ext uri="{FF2B5EF4-FFF2-40B4-BE49-F238E27FC236}">
                  <a16:creationId xmlns:a16="http://schemas.microsoft.com/office/drawing/2014/main" id="{F473FD6F-105A-4A5E-BB7B-E748A685D5A6}"/>
                </a:ext>
              </a:extLst>
            </p:cNvPr>
            <p:cNvSpPr/>
            <p:nvPr userDrawn="1"/>
          </p:nvSpPr>
          <p:spPr>
            <a:xfrm>
              <a:off x="3035366" y="1946104"/>
              <a:ext cx="671123" cy="115833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8" name="Rectangle 177">
              <a:extLst>
                <a:ext uri="{FF2B5EF4-FFF2-40B4-BE49-F238E27FC236}">
                  <a16:creationId xmlns:a16="http://schemas.microsoft.com/office/drawing/2014/main" id="{3339347A-FF0E-40C7-89C0-36AFFF6F9E77}"/>
                </a:ext>
              </a:extLst>
            </p:cNvPr>
            <p:cNvSpPr/>
            <p:nvPr userDrawn="1"/>
          </p:nvSpPr>
          <p:spPr>
            <a:xfrm>
              <a:off x="3035366" y="1946104"/>
              <a:ext cx="671123" cy="99683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9" name="Rectangle 178">
              <a:extLst>
                <a:ext uri="{FF2B5EF4-FFF2-40B4-BE49-F238E27FC236}">
                  <a16:creationId xmlns:a16="http://schemas.microsoft.com/office/drawing/2014/main" id="{BC367306-AB93-4C38-8042-A2D897E19657}"/>
                </a:ext>
              </a:extLst>
            </p:cNvPr>
            <p:cNvSpPr/>
            <p:nvPr userDrawn="1"/>
          </p:nvSpPr>
          <p:spPr>
            <a:xfrm>
              <a:off x="3035366" y="1946104"/>
              <a:ext cx="671123" cy="8353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0" name="Rectangle 179">
              <a:extLst>
                <a:ext uri="{FF2B5EF4-FFF2-40B4-BE49-F238E27FC236}">
                  <a16:creationId xmlns:a16="http://schemas.microsoft.com/office/drawing/2014/main" id="{54D63E32-A004-4AFD-BE82-56549F30C11C}"/>
                </a:ext>
              </a:extLst>
            </p:cNvPr>
            <p:cNvSpPr/>
            <p:nvPr userDrawn="1"/>
          </p:nvSpPr>
          <p:spPr>
            <a:xfrm>
              <a:off x="3035367" y="1946104"/>
              <a:ext cx="671123" cy="67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1" name="Rectangle 180">
              <a:extLst>
                <a:ext uri="{FF2B5EF4-FFF2-40B4-BE49-F238E27FC236}">
                  <a16:creationId xmlns:a16="http://schemas.microsoft.com/office/drawing/2014/main" id="{95194278-6696-4FD2-8D66-10625FBCACA4}"/>
                </a:ext>
              </a:extLst>
            </p:cNvPr>
            <p:cNvSpPr/>
            <p:nvPr userDrawn="1"/>
          </p:nvSpPr>
          <p:spPr>
            <a:xfrm>
              <a:off x="3837605" y="1946104"/>
              <a:ext cx="671123" cy="14813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2" name="Rectangle 181">
              <a:extLst>
                <a:ext uri="{FF2B5EF4-FFF2-40B4-BE49-F238E27FC236}">
                  <a16:creationId xmlns:a16="http://schemas.microsoft.com/office/drawing/2014/main" id="{C3383B67-395B-4618-94B2-8FFB09170689}"/>
                </a:ext>
              </a:extLst>
            </p:cNvPr>
            <p:cNvSpPr/>
            <p:nvPr userDrawn="1"/>
          </p:nvSpPr>
          <p:spPr>
            <a:xfrm>
              <a:off x="3837605" y="1946104"/>
              <a:ext cx="671123" cy="13198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3" name="Rectangle 182">
              <a:extLst>
                <a:ext uri="{FF2B5EF4-FFF2-40B4-BE49-F238E27FC236}">
                  <a16:creationId xmlns:a16="http://schemas.microsoft.com/office/drawing/2014/main" id="{ACFCFB25-1D6C-475A-A271-185C58B6D8CD}"/>
                </a:ext>
              </a:extLst>
            </p:cNvPr>
            <p:cNvSpPr/>
            <p:nvPr userDrawn="1"/>
          </p:nvSpPr>
          <p:spPr>
            <a:xfrm>
              <a:off x="3837605" y="1946104"/>
              <a:ext cx="671123" cy="11583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4" name="Rectangle 183">
              <a:extLst>
                <a:ext uri="{FF2B5EF4-FFF2-40B4-BE49-F238E27FC236}">
                  <a16:creationId xmlns:a16="http://schemas.microsoft.com/office/drawing/2014/main" id="{73828B87-D0D9-4219-9A26-4E60D6640DC7}"/>
                </a:ext>
              </a:extLst>
            </p:cNvPr>
            <p:cNvSpPr/>
            <p:nvPr userDrawn="1"/>
          </p:nvSpPr>
          <p:spPr>
            <a:xfrm>
              <a:off x="3837605" y="1946104"/>
              <a:ext cx="671123" cy="99683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5" name="Rectangle 184">
              <a:extLst>
                <a:ext uri="{FF2B5EF4-FFF2-40B4-BE49-F238E27FC236}">
                  <a16:creationId xmlns:a16="http://schemas.microsoft.com/office/drawing/2014/main" id="{32F1CA9D-A578-4C66-ACB9-661F5482120A}"/>
                </a:ext>
              </a:extLst>
            </p:cNvPr>
            <p:cNvSpPr/>
            <p:nvPr userDrawn="1"/>
          </p:nvSpPr>
          <p:spPr>
            <a:xfrm>
              <a:off x="3837605" y="1946104"/>
              <a:ext cx="671123" cy="83534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6" name="Rectangle 185">
              <a:extLst>
                <a:ext uri="{FF2B5EF4-FFF2-40B4-BE49-F238E27FC236}">
                  <a16:creationId xmlns:a16="http://schemas.microsoft.com/office/drawing/2014/main" id="{FBA4A2F3-8BCC-434A-B746-2BDB48D8AB71}"/>
                </a:ext>
              </a:extLst>
            </p:cNvPr>
            <p:cNvSpPr/>
            <p:nvPr userDrawn="1"/>
          </p:nvSpPr>
          <p:spPr>
            <a:xfrm>
              <a:off x="3837605" y="1946104"/>
              <a:ext cx="671123" cy="670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7" name="Rectangle 186">
              <a:extLst>
                <a:ext uri="{FF2B5EF4-FFF2-40B4-BE49-F238E27FC236}">
                  <a16:creationId xmlns:a16="http://schemas.microsoft.com/office/drawing/2014/main" id="{94CE36C5-39FB-4F90-8E32-674401CD3D3F}"/>
                </a:ext>
              </a:extLst>
            </p:cNvPr>
            <p:cNvSpPr/>
            <p:nvPr userDrawn="1"/>
          </p:nvSpPr>
          <p:spPr>
            <a:xfrm>
              <a:off x="4639843" y="1946104"/>
              <a:ext cx="671123" cy="148132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8" name="Rectangle 187">
              <a:extLst>
                <a:ext uri="{FF2B5EF4-FFF2-40B4-BE49-F238E27FC236}">
                  <a16:creationId xmlns:a16="http://schemas.microsoft.com/office/drawing/2014/main" id="{A6E16A70-98A2-4827-A41D-0E0D06F225EA}"/>
                </a:ext>
              </a:extLst>
            </p:cNvPr>
            <p:cNvSpPr/>
            <p:nvPr userDrawn="1"/>
          </p:nvSpPr>
          <p:spPr>
            <a:xfrm>
              <a:off x="4639843" y="1946104"/>
              <a:ext cx="671123" cy="13198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9" name="Rectangle 188">
              <a:extLst>
                <a:ext uri="{FF2B5EF4-FFF2-40B4-BE49-F238E27FC236}">
                  <a16:creationId xmlns:a16="http://schemas.microsoft.com/office/drawing/2014/main" id="{C1D78562-9E82-4152-A4A8-69D145DC1F39}"/>
                </a:ext>
              </a:extLst>
            </p:cNvPr>
            <p:cNvSpPr/>
            <p:nvPr userDrawn="1"/>
          </p:nvSpPr>
          <p:spPr>
            <a:xfrm>
              <a:off x="4639843" y="1946104"/>
              <a:ext cx="671123" cy="115833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0" name="Rectangle 189">
              <a:extLst>
                <a:ext uri="{FF2B5EF4-FFF2-40B4-BE49-F238E27FC236}">
                  <a16:creationId xmlns:a16="http://schemas.microsoft.com/office/drawing/2014/main" id="{5FF04718-41E7-4CBC-B319-0FCB4F715A30}"/>
                </a:ext>
              </a:extLst>
            </p:cNvPr>
            <p:cNvSpPr/>
            <p:nvPr userDrawn="1"/>
          </p:nvSpPr>
          <p:spPr>
            <a:xfrm>
              <a:off x="4639843" y="1946104"/>
              <a:ext cx="671123" cy="99683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1" name="Rectangle 190">
              <a:extLst>
                <a:ext uri="{FF2B5EF4-FFF2-40B4-BE49-F238E27FC236}">
                  <a16:creationId xmlns:a16="http://schemas.microsoft.com/office/drawing/2014/main" id="{784528AC-5133-4570-AE06-21420B61A9DB}"/>
                </a:ext>
              </a:extLst>
            </p:cNvPr>
            <p:cNvSpPr/>
            <p:nvPr userDrawn="1"/>
          </p:nvSpPr>
          <p:spPr>
            <a:xfrm>
              <a:off x="4639843" y="1946104"/>
              <a:ext cx="671123" cy="83534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2" name="Rectangle 191">
              <a:extLst>
                <a:ext uri="{FF2B5EF4-FFF2-40B4-BE49-F238E27FC236}">
                  <a16:creationId xmlns:a16="http://schemas.microsoft.com/office/drawing/2014/main" id="{AB7BE177-89EB-4FA3-9079-8FA861814FF7}"/>
                </a:ext>
              </a:extLst>
            </p:cNvPr>
            <p:cNvSpPr/>
            <p:nvPr userDrawn="1"/>
          </p:nvSpPr>
          <p:spPr>
            <a:xfrm>
              <a:off x="4639844" y="1946104"/>
              <a:ext cx="671123" cy="670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3" name="Rectangle 192">
              <a:extLst>
                <a:ext uri="{FF2B5EF4-FFF2-40B4-BE49-F238E27FC236}">
                  <a16:creationId xmlns:a16="http://schemas.microsoft.com/office/drawing/2014/main" id="{C9C8021D-DDA1-4E1E-8E0D-CB3AC805ED0E}"/>
                </a:ext>
              </a:extLst>
            </p:cNvPr>
            <p:cNvSpPr/>
            <p:nvPr userDrawn="1"/>
          </p:nvSpPr>
          <p:spPr>
            <a:xfrm>
              <a:off x="5442082" y="1946104"/>
              <a:ext cx="671123" cy="148132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4" name="Rectangle 193">
              <a:extLst>
                <a:ext uri="{FF2B5EF4-FFF2-40B4-BE49-F238E27FC236}">
                  <a16:creationId xmlns:a16="http://schemas.microsoft.com/office/drawing/2014/main" id="{08DCABD2-698D-4425-BB59-83846A51C9F3}"/>
                </a:ext>
              </a:extLst>
            </p:cNvPr>
            <p:cNvSpPr/>
            <p:nvPr userDrawn="1"/>
          </p:nvSpPr>
          <p:spPr>
            <a:xfrm>
              <a:off x="5442082" y="1946104"/>
              <a:ext cx="671123" cy="131983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5" name="Rectangle 194">
              <a:extLst>
                <a:ext uri="{FF2B5EF4-FFF2-40B4-BE49-F238E27FC236}">
                  <a16:creationId xmlns:a16="http://schemas.microsoft.com/office/drawing/2014/main" id="{0F65B3E0-F086-48E1-803B-AB3B20CFB869}"/>
                </a:ext>
              </a:extLst>
            </p:cNvPr>
            <p:cNvSpPr/>
            <p:nvPr userDrawn="1"/>
          </p:nvSpPr>
          <p:spPr>
            <a:xfrm>
              <a:off x="5442082" y="1946104"/>
              <a:ext cx="671123" cy="115833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6" name="Rectangle 195">
              <a:extLst>
                <a:ext uri="{FF2B5EF4-FFF2-40B4-BE49-F238E27FC236}">
                  <a16:creationId xmlns:a16="http://schemas.microsoft.com/office/drawing/2014/main" id="{7E6D9187-7623-4588-904C-A809428DC8CD}"/>
                </a:ext>
              </a:extLst>
            </p:cNvPr>
            <p:cNvSpPr/>
            <p:nvPr userDrawn="1"/>
          </p:nvSpPr>
          <p:spPr>
            <a:xfrm>
              <a:off x="5442082" y="1946104"/>
              <a:ext cx="671123" cy="99683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7" name="Rectangle 196">
              <a:extLst>
                <a:ext uri="{FF2B5EF4-FFF2-40B4-BE49-F238E27FC236}">
                  <a16:creationId xmlns:a16="http://schemas.microsoft.com/office/drawing/2014/main" id="{790931BC-3EC0-4505-ACD9-4358033DE4F6}"/>
                </a:ext>
              </a:extLst>
            </p:cNvPr>
            <p:cNvSpPr/>
            <p:nvPr userDrawn="1"/>
          </p:nvSpPr>
          <p:spPr>
            <a:xfrm>
              <a:off x="5442082" y="1946104"/>
              <a:ext cx="671123" cy="83534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8" name="Rectangle 197">
              <a:extLst>
                <a:ext uri="{FF2B5EF4-FFF2-40B4-BE49-F238E27FC236}">
                  <a16:creationId xmlns:a16="http://schemas.microsoft.com/office/drawing/2014/main" id="{A4D4E93C-BC1B-4461-9A45-29B483EC73BF}"/>
                </a:ext>
              </a:extLst>
            </p:cNvPr>
            <p:cNvSpPr/>
            <p:nvPr userDrawn="1"/>
          </p:nvSpPr>
          <p:spPr>
            <a:xfrm>
              <a:off x="5442083" y="1946104"/>
              <a:ext cx="671123" cy="670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9" name="Rectangle 198">
              <a:extLst>
                <a:ext uri="{FF2B5EF4-FFF2-40B4-BE49-F238E27FC236}">
                  <a16:creationId xmlns:a16="http://schemas.microsoft.com/office/drawing/2014/main" id="{E6E3B6DB-4A45-4C4C-9100-69A6FEAB2F71}"/>
                </a:ext>
              </a:extLst>
            </p:cNvPr>
            <p:cNvSpPr/>
            <p:nvPr userDrawn="1"/>
          </p:nvSpPr>
          <p:spPr>
            <a:xfrm>
              <a:off x="6244321" y="1946104"/>
              <a:ext cx="671123" cy="148132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0" name="Rectangle 199">
              <a:extLst>
                <a:ext uri="{FF2B5EF4-FFF2-40B4-BE49-F238E27FC236}">
                  <a16:creationId xmlns:a16="http://schemas.microsoft.com/office/drawing/2014/main" id="{7E52722F-33D2-44D1-ADE2-F379ECF8E85C}"/>
                </a:ext>
              </a:extLst>
            </p:cNvPr>
            <p:cNvSpPr/>
            <p:nvPr userDrawn="1"/>
          </p:nvSpPr>
          <p:spPr>
            <a:xfrm>
              <a:off x="6244321" y="1946104"/>
              <a:ext cx="671123" cy="131983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1" name="Rectangle 200">
              <a:extLst>
                <a:ext uri="{FF2B5EF4-FFF2-40B4-BE49-F238E27FC236}">
                  <a16:creationId xmlns:a16="http://schemas.microsoft.com/office/drawing/2014/main" id="{B146F01B-FAF7-459A-95FC-471FD6F44FE7}"/>
                </a:ext>
              </a:extLst>
            </p:cNvPr>
            <p:cNvSpPr/>
            <p:nvPr userDrawn="1"/>
          </p:nvSpPr>
          <p:spPr>
            <a:xfrm>
              <a:off x="6244321" y="1946104"/>
              <a:ext cx="671123" cy="115833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2" name="Rectangle 201">
              <a:extLst>
                <a:ext uri="{FF2B5EF4-FFF2-40B4-BE49-F238E27FC236}">
                  <a16:creationId xmlns:a16="http://schemas.microsoft.com/office/drawing/2014/main" id="{CBCD4ABC-5320-4DF8-A422-49658D6A72DF}"/>
                </a:ext>
              </a:extLst>
            </p:cNvPr>
            <p:cNvSpPr/>
            <p:nvPr userDrawn="1"/>
          </p:nvSpPr>
          <p:spPr>
            <a:xfrm>
              <a:off x="6244321" y="1946104"/>
              <a:ext cx="671123" cy="99683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03" name="Rectangle 202">
              <a:extLst>
                <a:ext uri="{FF2B5EF4-FFF2-40B4-BE49-F238E27FC236}">
                  <a16:creationId xmlns:a16="http://schemas.microsoft.com/office/drawing/2014/main" id="{975E9A33-9E0E-4E18-A5DD-86EF652AD6FB}"/>
                </a:ext>
              </a:extLst>
            </p:cNvPr>
            <p:cNvSpPr/>
            <p:nvPr userDrawn="1"/>
          </p:nvSpPr>
          <p:spPr>
            <a:xfrm>
              <a:off x="6244321" y="1946104"/>
              <a:ext cx="671123" cy="8353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4" name="Rectangle 203">
              <a:extLst>
                <a:ext uri="{FF2B5EF4-FFF2-40B4-BE49-F238E27FC236}">
                  <a16:creationId xmlns:a16="http://schemas.microsoft.com/office/drawing/2014/main" id="{86DE6780-4E8C-4FC1-AD40-851153AC9C0E}"/>
                </a:ext>
              </a:extLst>
            </p:cNvPr>
            <p:cNvSpPr/>
            <p:nvPr userDrawn="1"/>
          </p:nvSpPr>
          <p:spPr>
            <a:xfrm>
              <a:off x="6244321" y="1946104"/>
              <a:ext cx="671123" cy="670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5" name="Rectangle 204">
              <a:extLst>
                <a:ext uri="{FF2B5EF4-FFF2-40B4-BE49-F238E27FC236}">
                  <a16:creationId xmlns:a16="http://schemas.microsoft.com/office/drawing/2014/main" id="{93CF397D-F42D-4CB6-A604-09A609A110BD}"/>
                </a:ext>
              </a:extLst>
            </p:cNvPr>
            <p:cNvSpPr/>
            <p:nvPr userDrawn="1"/>
          </p:nvSpPr>
          <p:spPr>
            <a:xfrm>
              <a:off x="7046559" y="1946104"/>
              <a:ext cx="671123" cy="148132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6" name="Rectangle 205">
              <a:extLst>
                <a:ext uri="{FF2B5EF4-FFF2-40B4-BE49-F238E27FC236}">
                  <a16:creationId xmlns:a16="http://schemas.microsoft.com/office/drawing/2014/main" id="{057D5D7B-B1AE-46F9-A720-823F6987157D}"/>
                </a:ext>
              </a:extLst>
            </p:cNvPr>
            <p:cNvSpPr/>
            <p:nvPr userDrawn="1"/>
          </p:nvSpPr>
          <p:spPr>
            <a:xfrm>
              <a:off x="7046559" y="1946104"/>
              <a:ext cx="671123" cy="131983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7" name="Rectangle 206">
              <a:extLst>
                <a:ext uri="{FF2B5EF4-FFF2-40B4-BE49-F238E27FC236}">
                  <a16:creationId xmlns:a16="http://schemas.microsoft.com/office/drawing/2014/main" id="{C3F776C9-C8F5-41AB-A50C-E17AA2489CAC}"/>
                </a:ext>
              </a:extLst>
            </p:cNvPr>
            <p:cNvSpPr/>
            <p:nvPr userDrawn="1"/>
          </p:nvSpPr>
          <p:spPr>
            <a:xfrm>
              <a:off x="7046559" y="1946104"/>
              <a:ext cx="671123" cy="115833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8" name="Rectangle 207">
              <a:extLst>
                <a:ext uri="{FF2B5EF4-FFF2-40B4-BE49-F238E27FC236}">
                  <a16:creationId xmlns:a16="http://schemas.microsoft.com/office/drawing/2014/main" id="{1D7A8D87-B1EB-43D5-8080-17E8C01FB2DA}"/>
                </a:ext>
              </a:extLst>
            </p:cNvPr>
            <p:cNvSpPr/>
            <p:nvPr userDrawn="1"/>
          </p:nvSpPr>
          <p:spPr>
            <a:xfrm>
              <a:off x="7046559" y="1946104"/>
              <a:ext cx="671123" cy="99683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9" name="Rectangle 208">
              <a:extLst>
                <a:ext uri="{FF2B5EF4-FFF2-40B4-BE49-F238E27FC236}">
                  <a16:creationId xmlns:a16="http://schemas.microsoft.com/office/drawing/2014/main" id="{EC74B798-98F8-436D-8519-8E6975A11FE1}"/>
                </a:ext>
              </a:extLst>
            </p:cNvPr>
            <p:cNvSpPr/>
            <p:nvPr userDrawn="1"/>
          </p:nvSpPr>
          <p:spPr>
            <a:xfrm>
              <a:off x="7046559" y="1946104"/>
              <a:ext cx="671123" cy="83534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0" name="Rectangle 209">
              <a:extLst>
                <a:ext uri="{FF2B5EF4-FFF2-40B4-BE49-F238E27FC236}">
                  <a16:creationId xmlns:a16="http://schemas.microsoft.com/office/drawing/2014/main" id="{71D3983B-1AF9-4D52-AE43-A0EF0DBE0B61}"/>
                </a:ext>
              </a:extLst>
            </p:cNvPr>
            <p:cNvSpPr/>
            <p:nvPr userDrawn="1"/>
          </p:nvSpPr>
          <p:spPr>
            <a:xfrm>
              <a:off x="7046560" y="1946104"/>
              <a:ext cx="671123" cy="6706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1" name="Rectangle 210">
              <a:extLst>
                <a:ext uri="{FF2B5EF4-FFF2-40B4-BE49-F238E27FC236}">
                  <a16:creationId xmlns:a16="http://schemas.microsoft.com/office/drawing/2014/main" id="{2394C317-F0E7-4FE1-9D1F-8580B23BF1CD}"/>
                </a:ext>
              </a:extLst>
            </p:cNvPr>
            <p:cNvSpPr/>
            <p:nvPr userDrawn="1"/>
          </p:nvSpPr>
          <p:spPr>
            <a:xfrm>
              <a:off x="7848799" y="1946104"/>
              <a:ext cx="671123" cy="148132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2" name="Rectangle 211">
              <a:extLst>
                <a:ext uri="{FF2B5EF4-FFF2-40B4-BE49-F238E27FC236}">
                  <a16:creationId xmlns:a16="http://schemas.microsoft.com/office/drawing/2014/main" id="{213B29DD-5A5D-44F2-904F-8A6C2779618A}"/>
                </a:ext>
              </a:extLst>
            </p:cNvPr>
            <p:cNvSpPr/>
            <p:nvPr userDrawn="1"/>
          </p:nvSpPr>
          <p:spPr>
            <a:xfrm>
              <a:off x="7848799" y="1946104"/>
              <a:ext cx="671123" cy="13198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3" name="Rectangle 212">
              <a:extLst>
                <a:ext uri="{FF2B5EF4-FFF2-40B4-BE49-F238E27FC236}">
                  <a16:creationId xmlns:a16="http://schemas.microsoft.com/office/drawing/2014/main" id="{F1DC7031-3EC5-4E19-BB0E-3673D17D72DC}"/>
                </a:ext>
              </a:extLst>
            </p:cNvPr>
            <p:cNvSpPr/>
            <p:nvPr userDrawn="1"/>
          </p:nvSpPr>
          <p:spPr>
            <a:xfrm>
              <a:off x="7848799" y="1946104"/>
              <a:ext cx="671123" cy="115833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4" name="Rectangle 213">
              <a:extLst>
                <a:ext uri="{FF2B5EF4-FFF2-40B4-BE49-F238E27FC236}">
                  <a16:creationId xmlns:a16="http://schemas.microsoft.com/office/drawing/2014/main" id="{A3313C41-419B-4E5B-A156-8115FB45AE2E}"/>
                </a:ext>
              </a:extLst>
            </p:cNvPr>
            <p:cNvSpPr/>
            <p:nvPr userDrawn="1"/>
          </p:nvSpPr>
          <p:spPr>
            <a:xfrm>
              <a:off x="7848799" y="1946104"/>
              <a:ext cx="671123" cy="99683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5" name="Rectangle 214">
              <a:extLst>
                <a:ext uri="{FF2B5EF4-FFF2-40B4-BE49-F238E27FC236}">
                  <a16:creationId xmlns:a16="http://schemas.microsoft.com/office/drawing/2014/main" id="{93F2405F-A612-4FB4-BEF9-2AD77DF769FB}"/>
                </a:ext>
              </a:extLst>
            </p:cNvPr>
            <p:cNvSpPr/>
            <p:nvPr userDrawn="1"/>
          </p:nvSpPr>
          <p:spPr>
            <a:xfrm>
              <a:off x="7848799" y="1946104"/>
              <a:ext cx="671123" cy="8353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6" name="Rectangle 215">
              <a:extLst>
                <a:ext uri="{FF2B5EF4-FFF2-40B4-BE49-F238E27FC236}">
                  <a16:creationId xmlns:a16="http://schemas.microsoft.com/office/drawing/2014/main" id="{95C345FB-FDED-488A-9DD9-31B2B83CFB1B}"/>
                </a:ext>
              </a:extLst>
            </p:cNvPr>
            <p:cNvSpPr/>
            <p:nvPr userDrawn="1"/>
          </p:nvSpPr>
          <p:spPr>
            <a:xfrm>
              <a:off x="7848799" y="1946104"/>
              <a:ext cx="671123" cy="670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grpSp>
    </p:spTree>
    <p:extLst>
      <p:ext uri="{BB962C8B-B14F-4D97-AF65-F5344CB8AC3E}">
        <p14:creationId xmlns:p14="http://schemas.microsoft.com/office/powerpoint/2010/main" val="6339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3C8F66-424B-4BE0-9AB2-2669C9DD0C76}"/>
              </a:ext>
            </a:extLst>
          </p:cNvPr>
          <p:cNvSpPr>
            <a:spLocks noGrp="1"/>
          </p:cNvSpPr>
          <p:nvPr>
            <p:ph type="dt" sz="half" idx="10"/>
          </p:nvPr>
        </p:nvSpPr>
        <p:spPr/>
        <p:txBody>
          <a:bodyPr/>
          <a:lstStyle/>
          <a:p>
            <a:r>
              <a:rPr lang="en-US"/>
              <a:t>Date</a:t>
            </a:r>
          </a:p>
        </p:txBody>
      </p:sp>
      <p:sp>
        <p:nvSpPr>
          <p:cNvPr id="3" name="Footer Placeholder 2">
            <a:extLst>
              <a:ext uri="{FF2B5EF4-FFF2-40B4-BE49-F238E27FC236}">
                <a16:creationId xmlns:a16="http://schemas.microsoft.com/office/drawing/2014/main" id="{BE5F4461-CFCB-47B7-A030-98DC5B91FDC0}"/>
              </a:ext>
            </a:extLst>
          </p:cNvPr>
          <p:cNvSpPr>
            <a:spLocks noGrp="1"/>
          </p:cNvSpPr>
          <p:nvPr>
            <p:ph type="ftr" sz="quarter" idx="11"/>
          </p:nvPr>
        </p:nvSpPr>
        <p:spPr/>
        <p:txBody>
          <a:bodyPr/>
          <a:lstStyle/>
          <a:p>
            <a:r>
              <a:rPr lang="en-US"/>
              <a:t>Your Footer Here</a:t>
            </a:r>
          </a:p>
        </p:txBody>
      </p:sp>
      <p:sp>
        <p:nvSpPr>
          <p:cNvPr id="4" name="Slide Number Placeholder 3">
            <a:extLst>
              <a:ext uri="{FF2B5EF4-FFF2-40B4-BE49-F238E27FC236}">
                <a16:creationId xmlns:a16="http://schemas.microsoft.com/office/drawing/2014/main" id="{65AB1FCF-C84F-4E4B-88F0-C20F0086D3F8}"/>
              </a:ext>
            </a:extLst>
          </p:cNvPr>
          <p:cNvSpPr>
            <a:spLocks noGrp="1"/>
          </p:cNvSpPr>
          <p:nvPr>
            <p:ph type="sldNum" sz="quarter" idx="12"/>
          </p:nvPr>
        </p:nvSpPr>
        <p:spPr/>
        <p:txBody>
          <a:bodyPr/>
          <a:lstStyle/>
          <a:p>
            <a:fld id="{83A218E8-C0C8-4525-BD5F-99356FF4A842}" type="slidenum">
              <a:rPr lang="en-US" smtClean="0"/>
              <a:t>‹#›</a:t>
            </a:fld>
            <a:endParaRPr lang="en-US"/>
          </a:p>
        </p:txBody>
      </p:sp>
    </p:spTree>
    <p:extLst>
      <p:ext uri="{BB962C8B-B14F-4D97-AF65-F5344CB8AC3E}">
        <p14:creationId xmlns:p14="http://schemas.microsoft.com/office/powerpoint/2010/main" val="2467625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D05BBD-75A3-45A1-A625-FA5B13A1F83F}"/>
              </a:ext>
            </a:extLst>
          </p:cNvPr>
          <p:cNvGraphicFramePr>
            <a:graphicFrameLocks noChangeAspect="1"/>
          </p:cNvGraphicFramePr>
          <p:nvPr userDrawn="1">
            <p:custDataLst>
              <p:tags r:id="rId1"/>
            </p:custDataLst>
            <p:extLst>
              <p:ext uri="{D42A27DB-BD31-4B8C-83A1-F6EECF244321}">
                <p14:modId xmlns:p14="http://schemas.microsoft.com/office/powerpoint/2010/main" val="96552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C3D05BBD-75A3-45A1-A625-FA5B13A1F8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088084-F7F4-4ED5-9E51-297D0641542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4F2D28-F53C-4EB4-B9CE-CDE75BBCF34F}"/>
              </a:ext>
            </a:extLst>
          </p:cNvPr>
          <p:cNvGraphicFramePr>
            <a:graphicFrameLocks noChangeAspect="1"/>
          </p:cNvGraphicFramePr>
          <p:nvPr userDrawn="1">
            <p:custDataLst>
              <p:tags r:id="rId1"/>
            </p:custDataLst>
            <p:extLst>
              <p:ext uri="{D42A27DB-BD31-4B8C-83A1-F6EECF244321}">
                <p14:modId xmlns:p14="http://schemas.microsoft.com/office/powerpoint/2010/main" val="106023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534F2D28-F53C-4EB4-B9CE-CDE75BBCF3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8B75C5-941E-49C8-8273-E7412CD2EFD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TextBox 9">
            <a:extLst>
              <a:ext uri="{FF2B5EF4-FFF2-40B4-BE49-F238E27FC236}">
                <a16:creationId xmlns:a16="http://schemas.microsoft.com/office/drawing/2014/main" id="{1D3C6890-E0A1-4B08-A908-C883680C3F5A}"/>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9E953DA1-C1C1-4EAB-B7EA-BAD3ACB4E13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80477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4B0497-6A5C-424D-AAA0-E56311C705FF}"/>
              </a:ext>
            </a:extLst>
          </p:cNvPr>
          <p:cNvGraphicFramePr>
            <a:graphicFrameLocks noChangeAspect="1"/>
          </p:cNvGraphicFramePr>
          <p:nvPr userDrawn="1">
            <p:custDataLst>
              <p:tags r:id="rId1"/>
            </p:custDataLst>
            <p:extLst>
              <p:ext uri="{D42A27DB-BD31-4B8C-83A1-F6EECF244321}">
                <p14:modId xmlns:p14="http://schemas.microsoft.com/office/powerpoint/2010/main" val="315293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ct 7" hidden="1">
                        <a:extLst>
                          <a:ext uri="{FF2B5EF4-FFF2-40B4-BE49-F238E27FC236}">
                            <a16:creationId xmlns:a16="http://schemas.microsoft.com/office/drawing/2014/main" id="{BC4B0497-6A5C-424D-AAA0-E56311C705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9185E84-E0D0-4923-8F1C-101A943E86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2" name="TextBox 11">
            <a:extLst>
              <a:ext uri="{FF2B5EF4-FFF2-40B4-BE49-F238E27FC236}">
                <a16:creationId xmlns:a16="http://schemas.microsoft.com/office/drawing/2014/main" id="{E4AF168C-8EF0-4E5D-81FF-2CA7495E289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2C22806-EF4E-452C-BC54-30966B5F5F55}"/>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254352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9F89DD-CA58-45CD-90F9-4278575A1B00}"/>
              </a:ext>
            </a:extLst>
          </p:cNvPr>
          <p:cNvGraphicFramePr>
            <a:graphicFrameLocks noChangeAspect="1"/>
          </p:cNvGraphicFramePr>
          <p:nvPr userDrawn="1">
            <p:custDataLst>
              <p:tags r:id="rId1"/>
            </p:custDataLst>
            <p:extLst>
              <p:ext uri="{D42A27DB-BD31-4B8C-83A1-F6EECF244321}">
                <p14:modId xmlns:p14="http://schemas.microsoft.com/office/powerpoint/2010/main" val="52485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469F89DD-CA58-45CD-90F9-4278575A1B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A4E1EA-D881-409B-8C04-1257A8D74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8" name="TextBox 7">
            <a:extLst>
              <a:ext uri="{FF2B5EF4-FFF2-40B4-BE49-F238E27FC236}">
                <a16:creationId xmlns:a16="http://schemas.microsoft.com/office/drawing/2014/main" id="{FA239CBC-F8C8-4181-BD3C-8EF8AC61B31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E658CED2-80CD-4B6D-B2E1-7B7DC14E413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36722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7A54D6B-AD1F-4762-AC29-5F84F21768EB}"/>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0817EBF4-C2AF-4CBA-8A4F-7BDB1A77B99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72518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CBAD09-A2C3-40B0-A715-021BD861983C}"/>
              </a:ext>
            </a:extLst>
          </p:cNvPr>
          <p:cNvGraphicFramePr>
            <a:graphicFrameLocks noChangeAspect="1"/>
          </p:cNvGraphicFramePr>
          <p:nvPr userDrawn="1">
            <p:custDataLst>
              <p:tags r:id="rId1"/>
            </p:custDataLst>
            <p:extLst>
              <p:ext uri="{D42A27DB-BD31-4B8C-83A1-F6EECF244321}">
                <p14:modId xmlns:p14="http://schemas.microsoft.com/office/powerpoint/2010/main" val="291675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C7CBAD09-A2C3-40B0-A715-021BD86198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723C81-9794-4AE4-8C4E-C87F3BBF3C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a16="http://schemas.microsoft.com/office/drawing/2014/main" id="{280FDC3B-FF54-45FD-8337-F815F6726BBD}"/>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5E599EE4-F619-48D1-9F18-C205B4BAD76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47545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hyperlink" Target="http://www.presentationgo.com/" TargetMode="External"/><Relationship Id="rId4" Type="http://schemas.openxmlformats.org/officeDocument/2006/relationships/slideLayout" Target="../slideLayouts/slideLayout17.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hyperlink" Target="http://www.presentationgo.com/" TargetMode="External"/><Relationship Id="rId5" Type="http://schemas.openxmlformats.org/officeDocument/2006/relationships/slideLayout" Target="../slideLayouts/slideLayout25.xml"/><Relationship Id="rId10" Type="http://schemas.openxmlformats.org/officeDocument/2006/relationships/image" Target="../media/image3.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927B9-FE2F-6547-888C-BB7E7A88DDFA}"/>
              </a:ext>
            </a:extLst>
          </p:cNvPr>
          <p:cNvGraphicFramePr>
            <a:graphicFrameLocks noChangeAspect="1"/>
          </p:cNvGraphicFramePr>
          <p:nvPr userDrawn="1">
            <p:custDataLst>
              <p:tags r:id="rId15"/>
            </p:custDataLst>
            <p:extLst>
              <p:ext uri="{D42A27DB-BD31-4B8C-83A1-F6EECF244321}">
                <p14:modId xmlns:p14="http://schemas.microsoft.com/office/powerpoint/2010/main" val="348073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4B6927B9-FE2F-6547-888C-BB7E7A88DDFA}"/>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2A9F1-D26D-C949-A8F3-A16AA4A7248A}"/>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36" userDrawn="1">
          <p15:clr>
            <a:srgbClr val="F26B43"/>
          </p15:clr>
        </p15:guide>
        <p15:guide id="4" pos="7344" userDrawn="1">
          <p15:clr>
            <a:srgbClr val="F26B43"/>
          </p15:clr>
        </p15:guide>
        <p15:guide id="5" orient="horz" pos="3936" userDrawn="1">
          <p15:clr>
            <a:srgbClr val="F26B43"/>
          </p15:clr>
        </p15:guide>
        <p15:guide id="6" orient="horz" pos="960" userDrawn="1">
          <p15:clr>
            <a:srgbClr val="F26B43"/>
          </p15:clr>
        </p15:guide>
        <p15:guide id="7" orient="horz" pos="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55999-3F16-4981-A06E-18A5D24DA22C}"/>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2A96D25-75A9-4D75-AB9A-6EE624DCA6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7D9AF7A-EE03-4D7F-A307-7313D622B69B}"/>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B086EF-1F45-4ECD-8D5C-3F0C3828F6FB}" type="datetimeFigureOut">
              <a:rPr lang="en-US" smtClean="0"/>
              <a:t>1/20/2024</a:t>
            </a:fld>
            <a:endParaRPr lang="en-US"/>
          </a:p>
        </p:txBody>
      </p:sp>
      <p:sp>
        <p:nvSpPr>
          <p:cNvPr id="5" name="Footer Placeholder 4">
            <a:extLst>
              <a:ext uri="{FF2B5EF4-FFF2-40B4-BE49-F238E27FC236}">
                <a16:creationId xmlns:a16="http://schemas.microsoft.com/office/drawing/2014/main" id="{A4A2F644-5B7A-41CE-AF8F-CD3A5E8C9AC4}"/>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BD2754-AA0C-4D86-9E6D-4B555D983ABD}"/>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A218E8-C0C8-4525-BD5F-99356FF4A842}" type="slidenum">
              <a:rPr lang="en-US" smtClean="0"/>
              <a:t>‹#›</a:t>
            </a:fld>
            <a:endParaRPr lang="en-US"/>
          </a:p>
        </p:txBody>
      </p:sp>
      <p:grpSp>
        <p:nvGrpSpPr>
          <p:cNvPr id="7" name="Group 6">
            <a:extLst>
              <a:ext uri="{FF2B5EF4-FFF2-40B4-BE49-F238E27FC236}">
                <a16:creationId xmlns:a16="http://schemas.microsoft.com/office/drawing/2014/main" id="{A1857C97-E013-43FE-9E82-298502542D0C}"/>
              </a:ext>
            </a:extLst>
          </p:cNvPr>
          <p:cNvGrpSpPr/>
          <p:nvPr userDrawn="1"/>
        </p:nvGrpSpPr>
        <p:grpSpPr>
          <a:xfrm>
            <a:off x="-2206543" y="-73804"/>
            <a:ext cx="1977373" cy="612144"/>
            <a:chOff x="-2096383" y="21447"/>
            <a:chExt cx="1483030" cy="612144"/>
          </a:xfrm>
        </p:grpSpPr>
        <p:sp>
          <p:nvSpPr>
            <p:cNvPr id="8" name="TextBox 7">
              <a:extLst>
                <a:ext uri="{FF2B5EF4-FFF2-40B4-BE49-F238E27FC236}">
                  <a16:creationId xmlns:a16="http://schemas.microsoft.com/office/drawing/2014/main" id="{D6014953-82F7-4EF3-8CFB-C5EA554C47C0}"/>
                </a:ext>
              </a:extLst>
            </p:cNvPr>
            <p:cNvSpPr txBox="1"/>
            <p:nvPr userDrawn="1"/>
          </p:nvSpPr>
          <p:spPr>
            <a:xfrm>
              <a:off x="-2096383" y="21447"/>
              <a:ext cx="274355"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9" name="TextBox 8">
              <a:extLst>
                <a:ext uri="{FF2B5EF4-FFF2-40B4-BE49-F238E27FC236}">
                  <a16:creationId xmlns:a16="http://schemas.microsoft.com/office/drawing/2014/main" id="{73E560A8-6351-4498-893D-9570E04A7A14}"/>
                </a:ext>
              </a:extLst>
            </p:cNvPr>
            <p:cNvSpPr txBox="1"/>
            <p:nvPr userDrawn="1"/>
          </p:nvSpPr>
          <p:spPr>
            <a:xfrm>
              <a:off x="-1002010" y="387370"/>
              <a:ext cx="356108"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0" name="Picture 9">
              <a:extLst>
                <a:ext uri="{FF2B5EF4-FFF2-40B4-BE49-F238E27FC236}">
                  <a16:creationId xmlns:a16="http://schemas.microsoft.com/office/drawing/2014/main" id="{CB872D7E-C6E1-47AE-968B-325FA9FB19D9}"/>
                </a:ext>
              </a:extLst>
            </p:cNvPr>
            <p:cNvPicPr>
              <a:picLocks noChangeAspect="1"/>
            </p:cNvPicPr>
            <p:nvPr userDrawn="1"/>
          </p:nvPicPr>
          <p:blipFill>
            <a:blip r:embed="rId9"/>
            <a:stretch>
              <a:fillRect/>
            </a:stretch>
          </p:blipFill>
          <p:spPr>
            <a:xfrm>
              <a:off x="-2018604" y="234547"/>
              <a:ext cx="1405251" cy="185944"/>
            </a:xfrm>
            <a:prstGeom prst="rect">
              <a:avLst/>
            </a:prstGeom>
          </p:spPr>
        </p:pic>
      </p:grpSp>
      <p:sp>
        <p:nvSpPr>
          <p:cNvPr id="11" name="Rectangle 10">
            <a:extLst>
              <a:ext uri="{FF2B5EF4-FFF2-40B4-BE49-F238E27FC236}">
                <a16:creationId xmlns:a16="http://schemas.microsoft.com/office/drawing/2014/main" id="{C3D9864D-2D40-4BCD-B905-77BE8C94187D}"/>
              </a:ext>
            </a:extLst>
          </p:cNvPr>
          <p:cNvSpPr/>
          <p:nvPr userDrawn="1"/>
        </p:nvSpPr>
        <p:spPr>
          <a:xfrm>
            <a:off x="-118532" y="6959601"/>
            <a:ext cx="1661032" cy="261610"/>
          </a:xfrm>
          <a:prstGeom prst="rect">
            <a:avLst/>
          </a:prstGeom>
        </p:spPr>
        <p:txBody>
          <a:bodyPr wrap="none">
            <a:spAutoFit/>
          </a:bodyPr>
          <a:lstStyle/>
          <a:p>
            <a:r>
              <a:rPr lang="en-US" sz="1100" b="0" i="0" dirty="0">
                <a:solidFill>
                  <a:schemeClr val="accent1"/>
                </a:solidFill>
                <a:effectLst/>
                <a:latin typeface="Open Sans" panose="020B0606030504020204" pitchFamily="34" charset="0"/>
              </a:rPr>
              <a:t>© </a:t>
            </a:r>
            <a:r>
              <a:rPr lang="en-US" sz="1100" b="0" i="0" u="none" strike="noStrike" dirty="0">
                <a:solidFill>
                  <a:schemeClr val="accent1"/>
                </a:solidFill>
                <a:effectLst/>
                <a:latin typeface="Open Sans" panose="020B0606030504020204" pitchFamily="34" charset="0"/>
                <a:hlinkClick r:id="rId10" tooltip="PresentationGo!">
                  <a:extLst>
                    <a:ext uri="{A12FA001-AC4F-418D-AE19-62706E023703}">
                      <ahyp:hlinkClr xmlns:ahyp="http://schemas.microsoft.com/office/drawing/2018/hyperlinkcolor" val="tx"/>
                    </a:ext>
                  </a:extLst>
                </a:hlinkClick>
              </a:rPr>
              <a:t>presentationgo.com</a:t>
            </a:r>
            <a:endParaRPr lang="en-US" sz="1100" dirty="0">
              <a:solidFill>
                <a:schemeClr val="accent1"/>
              </a:solidFill>
              <a:latin typeface="Calibri" panose="020F0502020204030204" pitchFamily="34" charset="0"/>
            </a:endParaRPr>
          </a:p>
        </p:txBody>
      </p:sp>
    </p:spTree>
    <p:extLst>
      <p:ext uri="{BB962C8B-B14F-4D97-AF65-F5344CB8AC3E}">
        <p14:creationId xmlns:p14="http://schemas.microsoft.com/office/powerpoint/2010/main" val="313462231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chemeClr val="bg1">
                <a:lumMod val="85000"/>
              </a:schemeClr>
            </a:gs>
          </a:gsLst>
          <a:lin ang="0" scaled="0"/>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55999-3F16-4981-A06E-18A5D24DA22C}"/>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2A96D25-75A9-4D75-AB9A-6EE624DCA6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7D9AF7A-EE03-4D7F-A307-7313D622B69B}"/>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Date</a:t>
            </a:r>
          </a:p>
        </p:txBody>
      </p:sp>
      <p:sp>
        <p:nvSpPr>
          <p:cNvPr id="5" name="Footer Placeholder 4">
            <a:extLst>
              <a:ext uri="{FF2B5EF4-FFF2-40B4-BE49-F238E27FC236}">
                <a16:creationId xmlns:a16="http://schemas.microsoft.com/office/drawing/2014/main" id="{A4A2F644-5B7A-41CE-AF8F-CD3A5E8C9AC4}"/>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our Footer Here</a:t>
            </a:r>
          </a:p>
        </p:txBody>
      </p:sp>
      <p:sp>
        <p:nvSpPr>
          <p:cNvPr id="6" name="Slide Number Placeholder 5">
            <a:extLst>
              <a:ext uri="{FF2B5EF4-FFF2-40B4-BE49-F238E27FC236}">
                <a16:creationId xmlns:a16="http://schemas.microsoft.com/office/drawing/2014/main" id="{B8BD2754-AA0C-4D86-9E6D-4B555D983ABD}"/>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A218E8-C0C8-4525-BD5F-99356FF4A842}" type="slidenum">
              <a:rPr lang="en-US" smtClean="0"/>
              <a:t>‹#›</a:t>
            </a:fld>
            <a:endParaRPr lang="en-US"/>
          </a:p>
        </p:txBody>
      </p:sp>
      <p:grpSp>
        <p:nvGrpSpPr>
          <p:cNvPr id="7" name="Group 6">
            <a:extLst>
              <a:ext uri="{FF2B5EF4-FFF2-40B4-BE49-F238E27FC236}">
                <a16:creationId xmlns:a16="http://schemas.microsoft.com/office/drawing/2014/main" id="{A1857C97-E013-43FE-9E82-298502542D0C}"/>
              </a:ext>
            </a:extLst>
          </p:cNvPr>
          <p:cNvGrpSpPr/>
          <p:nvPr userDrawn="1"/>
        </p:nvGrpSpPr>
        <p:grpSpPr>
          <a:xfrm>
            <a:off x="-2206543" y="-73804"/>
            <a:ext cx="1977373" cy="612144"/>
            <a:chOff x="-2096383" y="21447"/>
            <a:chExt cx="1483030" cy="612144"/>
          </a:xfrm>
        </p:grpSpPr>
        <p:sp>
          <p:nvSpPr>
            <p:cNvPr id="8" name="TextBox 7">
              <a:extLst>
                <a:ext uri="{FF2B5EF4-FFF2-40B4-BE49-F238E27FC236}">
                  <a16:creationId xmlns:a16="http://schemas.microsoft.com/office/drawing/2014/main" id="{D6014953-82F7-4EF3-8CFB-C5EA554C47C0}"/>
                </a:ext>
              </a:extLst>
            </p:cNvPr>
            <p:cNvSpPr txBox="1"/>
            <p:nvPr userDrawn="1"/>
          </p:nvSpPr>
          <p:spPr>
            <a:xfrm>
              <a:off x="-2096383" y="21447"/>
              <a:ext cx="274355"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9" name="TextBox 8">
              <a:extLst>
                <a:ext uri="{FF2B5EF4-FFF2-40B4-BE49-F238E27FC236}">
                  <a16:creationId xmlns:a16="http://schemas.microsoft.com/office/drawing/2014/main" id="{73E560A8-6351-4498-893D-9570E04A7A14}"/>
                </a:ext>
              </a:extLst>
            </p:cNvPr>
            <p:cNvSpPr txBox="1"/>
            <p:nvPr userDrawn="1"/>
          </p:nvSpPr>
          <p:spPr>
            <a:xfrm>
              <a:off x="-1002010" y="387370"/>
              <a:ext cx="356108"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0" name="Picture 9">
              <a:extLst>
                <a:ext uri="{FF2B5EF4-FFF2-40B4-BE49-F238E27FC236}">
                  <a16:creationId xmlns:a16="http://schemas.microsoft.com/office/drawing/2014/main" id="{CB872D7E-C6E1-47AE-968B-325FA9FB19D9}"/>
                </a:ext>
              </a:extLst>
            </p:cNvPr>
            <p:cNvPicPr>
              <a:picLocks noChangeAspect="1"/>
            </p:cNvPicPr>
            <p:nvPr userDrawn="1"/>
          </p:nvPicPr>
          <p:blipFill>
            <a:blip r:embed="rId10"/>
            <a:stretch>
              <a:fillRect/>
            </a:stretch>
          </p:blipFill>
          <p:spPr>
            <a:xfrm>
              <a:off x="-2018604" y="234547"/>
              <a:ext cx="1405251" cy="185944"/>
            </a:xfrm>
            <a:prstGeom prst="rect">
              <a:avLst/>
            </a:prstGeom>
          </p:spPr>
        </p:pic>
      </p:grpSp>
      <p:sp>
        <p:nvSpPr>
          <p:cNvPr id="11" name="Rectangle 10">
            <a:extLst>
              <a:ext uri="{FF2B5EF4-FFF2-40B4-BE49-F238E27FC236}">
                <a16:creationId xmlns:a16="http://schemas.microsoft.com/office/drawing/2014/main" id="{C3D9864D-2D40-4BCD-B905-77BE8C94187D}"/>
              </a:ext>
            </a:extLst>
          </p:cNvPr>
          <p:cNvSpPr/>
          <p:nvPr userDrawn="1"/>
        </p:nvSpPr>
        <p:spPr>
          <a:xfrm>
            <a:off x="-118532" y="6959601"/>
            <a:ext cx="1661032" cy="261610"/>
          </a:xfrm>
          <a:prstGeom prst="rect">
            <a:avLst/>
          </a:prstGeom>
        </p:spPr>
        <p:txBody>
          <a:bodyPr wrap="none">
            <a:spAutoFit/>
          </a:bodyPr>
          <a:lstStyle/>
          <a:p>
            <a:r>
              <a:rPr lang="en-US" sz="1100" b="0" i="0" dirty="0">
                <a:solidFill>
                  <a:schemeClr val="accent6"/>
                </a:solidFill>
                <a:effectLst/>
                <a:latin typeface="Open Sans" panose="020B0606030504020204" pitchFamily="34" charset="0"/>
              </a:rPr>
              <a:t>© </a:t>
            </a:r>
            <a:r>
              <a:rPr lang="en-US" sz="1100" b="0" i="0" u="none" strike="noStrike" dirty="0">
                <a:solidFill>
                  <a:schemeClr val="accent6"/>
                </a:solidFill>
                <a:effectLst/>
                <a:latin typeface="Open Sans" panose="020B0606030504020204" pitchFamily="34" charset="0"/>
                <a:hlinkClick r:id="rId11" tooltip="PresentationGo!">
                  <a:extLst>
                    <a:ext uri="{A12FA001-AC4F-418D-AE19-62706E023703}">
                      <ahyp:hlinkClr xmlns:ahyp="http://schemas.microsoft.com/office/drawing/2018/hyperlinkcolor" val="tx"/>
                    </a:ext>
                  </a:extLst>
                </a:hlinkClick>
              </a:rPr>
              <a:t>presentationgo.com</a:t>
            </a:r>
            <a:endParaRPr lang="en-US" sz="1100" dirty="0">
              <a:solidFill>
                <a:schemeClr val="accent6"/>
              </a:solidFill>
              <a:latin typeface="Calibri" panose="020F0502020204030204" pitchFamily="34" charset="0"/>
            </a:endParaRPr>
          </a:p>
        </p:txBody>
      </p:sp>
    </p:spTree>
    <p:extLst>
      <p:ext uri="{BB962C8B-B14F-4D97-AF65-F5344CB8AC3E}">
        <p14:creationId xmlns:p14="http://schemas.microsoft.com/office/powerpoint/2010/main" val="272149390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0.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6.wdp"/><Relationship Id="rId4" Type="http://schemas.openxmlformats.org/officeDocument/2006/relationships/oleObject" Target="../embeddings/oleObject14.bin"/><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1.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6.wdp"/><Relationship Id="rId4" Type="http://schemas.openxmlformats.org/officeDocument/2006/relationships/oleObject" Target="../embeddings/oleObject15.bin"/><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3.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3.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16.bin"/><Relationship Id="rId9"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4.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7.wdp"/><Relationship Id="rId4" Type="http://schemas.openxmlformats.org/officeDocument/2006/relationships/oleObject" Target="../embeddings/oleObject17.bin"/><Relationship Id="rId9"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5.xml"/><Relationship Id="rId7" Type="http://schemas.openxmlformats.org/officeDocument/2006/relationships/image" Target="../media/image11.jpeg"/><Relationship Id="rId12" Type="http://schemas.microsoft.com/office/2007/relationships/hdphoto" Target="../media/hdphoto9.wdp"/><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10.jpg"/><Relationship Id="rId11" Type="http://schemas.openxmlformats.org/officeDocument/2006/relationships/image" Target="../media/image18.png"/><Relationship Id="rId5" Type="http://schemas.openxmlformats.org/officeDocument/2006/relationships/image" Target="../media/image9.emf"/><Relationship Id="rId10" Type="http://schemas.microsoft.com/office/2007/relationships/hdphoto" Target="../media/hdphoto8.wdp"/><Relationship Id="rId4" Type="http://schemas.openxmlformats.org/officeDocument/2006/relationships/oleObject" Target="../embeddings/oleObject18.bin"/><Relationship Id="rId9" Type="http://schemas.openxmlformats.org/officeDocument/2006/relationships/image" Target="../media/image17.png"/></Relationships>
</file>

<file path=ppt/slides/_rels/slide16.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16.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1.x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19.bin"/><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7.xml"/><Relationship Id="rId7" Type="http://schemas.openxmlformats.org/officeDocument/2006/relationships/slide" Target="slide3.xml"/><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image" Target="../media/image10.jpg"/><Relationship Id="rId5" Type="http://schemas.openxmlformats.org/officeDocument/2006/relationships/image" Target="../media/image9.emf"/><Relationship Id="rId10" Type="http://schemas.openxmlformats.org/officeDocument/2006/relationships/hyperlink" Target="file:///D:\Esraa\FCDS%20Material\FCDS%205th%20Term\Stochastic%20Processes\Stochastic%20Project\baum%20welch-%20Mathematical%20Institution.pdf" TargetMode="External"/><Relationship Id="rId4" Type="http://schemas.openxmlformats.org/officeDocument/2006/relationships/oleObject" Target="../embeddings/oleObject20.bin"/><Relationship Id="rId9" Type="http://schemas.openxmlformats.org/officeDocument/2006/relationships/image" Target="../media/image11.jpe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4.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notesSlide" Target="../notesSlides/notesSlide19.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3.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10.wdp"/><Relationship Id="rId4" Type="http://schemas.openxmlformats.org/officeDocument/2006/relationships/oleObject" Target="../embeddings/oleObject21.bin"/><Relationship Id="rId9"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3.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21.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4.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10.wdp"/><Relationship Id="rId4" Type="http://schemas.openxmlformats.org/officeDocument/2006/relationships/oleObject" Target="../embeddings/oleObject22.bin"/><Relationship Id="rId9"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4.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notesSlide" Target="../notesSlides/notesSlide23.xml"/><Relationship Id="rId7" Type="http://schemas.openxmlformats.org/officeDocument/2006/relationships/image" Target="../media/image11.jpeg"/><Relationship Id="rId12" Type="http://schemas.microsoft.com/office/2007/relationships/diagramDrawing" Target="../diagrams/drawing1.xml"/><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image" Target="../media/image10.jpg"/><Relationship Id="rId11" Type="http://schemas.openxmlformats.org/officeDocument/2006/relationships/diagramColors" Target="../diagrams/colors1.xml"/><Relationship Id="rId5" Type="http://schemas.openxmlformats.org/officeDocument/2006/relationships/image" Target="../media/image9.emf"/><Relationship Id="rId10" Type="http://schemas.openxmlformats.org/officeDocument/2006/relationships/diagramQuickStyle" Target="../diagrams/quickStyle1.xml"/><Relationship Id="rId4" Type="http://schemas.openxmlformats.org/officeDocument/2006/relationships/oleObject" Target="../embeddings/oleObject23.bin"/><Relationship Id="rId9"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4.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6.x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8" Type="http://schemas.openxmlformats.org/officeDocument/2006/relationships/image" Target="../media/image29.gif"/><Relationship Id="rId3" Type="http://schemas.openxmlformats.org/officeDocument/2006/relationships/notesSlide" Target="../notesSlides/notesSlide25.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7.x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4.xml"/><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hyperlink" Target="file:///D:\Esraa\FCDS%20Material\FCDS%205th%20Term\Stochastic%20Processes\Stochastic%20Project\Baum-Welch%20Algorithm.ipynb" TargetMode="External"/><Relationship Id="rId3" Type="http://schemas.openxmlformats.org/officeDocument/2006/relationships/notesSlide" Target="../notesSlides/notesSlide27.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30.png"/><Relationship Id="rId9" Type="http://schemas.openxmlformats.org/officeDocument/2006/relationships/image" Target="../media/image31.png"/></Relationships>
</file>

<file path=ppt/slides/_rels/slide28.xml.rels><?xml version="1.0" encoding="UTF-8" standalone="yes"?>
<Relationships xmlns="http://schemas.openxmlformats.org/package/2006/relationships"><Relationship Id="rId8" Type="http://schemas.openxmlformats.org/officeDocument/2006/relationships/hyperlink" Target="file:///D:\Esraa\FCDS%20Material\FCDS%205th%20Term\Stochastic%20Processes\Stochastic%20Project\Baum-Welch%20Algorithm.ipynb" TargetMode="External"/><Relationship Id="rId3" Type="http://schemas.openxmlformats.org/officeDocument/2006/relationships/notesSlide" Target="../notesSlides/notesSlide28.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39.x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image" Target="../media/image30.png"/><Relationship Id="rId9"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9.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image" Target="../media/image30.png"/><Relationship Id="rId9" Type="http://schemas.openxmlformats.org/officeDocument/2006/relationships/hyperlink" Target="file:///D:\Esraa\FCDS%20Material\FCDS%205th%20Term\Stochastic%20Processes\Stochastic%20Project\Baum-Welch%20Algorithm.ipynb" TargetMode="External"/></Relationships>
</file>

<file path=ppt/slides/_rels/slide3.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image" Target="../media/image6.png"/><Relationship Id="rId7" Type="http://schemas.openxmlformats.org/officeDocument/2006/relationships/slide" Target="slide6.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slide" Target="slide12.xml"/><Relationship Id="rId5" Type="http://schemas.openxmlformats.org/officeDocument/2006/relationships/slide" Target="slide9.xml"/><Relationship Id="rId4" Type="http://schemas.microsoft.com/office/2007/relationships/hdphoto" Target="../media/hdphoto2.wdp"/><Relationship Id="rId9" Type="http://schemas.openxmlformats.org/officeDocument/2006/relationships/comments" Target="../comments/comment1.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4.xml"/><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1.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41.x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image" Target="../media/image34.jpeg"/><Relationship Id="rId9" Type="http://schemas.openxmlformats.org/officeDocument/2006/relationships/hyperlink" Target="file:///D:\Esraa\FCDS%20Material\FCDS%205th%20Term\Stochastic%20Processes\Stochastic%20Project\Baum-Welch%20Algorithm.R"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32.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image" Target="../media/image34.jpeg"/><Relationship Id="rId9" Type="http://schemas.openxmlformats.org/officeDocument/2006/relationships/hyperlink" Target="file:///D:\Esraa\FCDS%20Material\FCDS%205th%20Term\Stochastic%20Processes\Stochastic%20Project\Baum-Welch%20Algorithm.R"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5.xml"/><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notesSlide" Target="../notesSlides/notesSlide34.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image" Target="../media/image9.emf"/><Relationship Id="rId5" Type="http://schemas.openxmlformats.org/officeDocument/2006/relationships/oleObject" Target="../embeddings/oleObject31.bin"/><Relationship Id="rId10" Type="http://schemas.openxmlformats.org/officeDocument/2006/relationships/hyperlink" Target="file:///D:\Esraa\FCDS%20Material\FCDS%205th%20Term\Stochastic%20Processes\Stochastic%20Project\Markov%20Model.ipynb" TargetMode="External"/><Relationship Id="rId4" Type="http://schemas.openxmlformats.org/officeDocument/2006/relationships/image" Target="../media/image30.png"/><Relationship Id="rId9"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5.xm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3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36.xml"/><Relationship Id="rId7" Type="http://schemas.openxmlformats.org/officeDocument/2006/relationships/image" Target="../media/image9.emf"/><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oleObject" Target="../embeddings/oleObject32.bin"/><Relationship Id="rId5" Type="http://schemas.microsoft.com/office/2007/relationships/hdphoto" Target="../media/hdphoto12.wdp"/><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37.xml"/><Relationship Id="rId7" Type="http://schemas.openxmlformats.org/officeDocument/2006/relationships/image" Target="../media/image9.emf"/><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oleObject" Target="../embeddings/oleObject33.bin"/><Relationship Id="rId5" Type="http://schemas.microsoft.com/office/2007/relationships/hdphoto" Target="../media/hdphoto12.wdp"/><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5.xml"/><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39.xml.rels><?xml version="1.0" encoding="UTF-8" standalone="yes"?>
<Relationships xmlns="http://schemas.openxmlformats.org/package/2006/relationships"><Relationship Id="rId8" Type="http://schemas.openxmlformats.org/officeDocument/2006/relationships/hyperlink" Target="https://isip.piconepress.com/courses/msstate/ece_8463/projects/2000_spring/final_paper/baum_welch_v0.pdf" TargetMode="External"/><Relationship Id="rId3" Type="http://schemas.openxmlformats.org/officeDocument/2006/relationships/notesSlide" Target="../notesSlides/notesSlide39.xml"/><Relationship Id="rId7" Type="http://schemas.openxmlformats.org/officeDocument/2006/relationships/image" Target="../media/image11.jpeg"/><Relationship Id="rId12" Type="http://schemas.openxmlformats.org/officeDocument/2006/relationships/hyperlink" Target="https://pure.royalholloway.ac.uk/ws/portalfiles/portal/1446635/Hidden_Markov_Models_Theory_and_Applications.pdf" TargetMode="External"/><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image" Target="../media/image9.emf"/><Relationship Id="rId11" Type="http://schemas.openxmlformats.org/officeDocument/2006/relationships/hyperlink" Target="https://en.wikipedia.org/wiki/Baum%E2%80%93Welch_algorithm" TargetMode="External"/><Relationship Id="rId5" Type="http://schemas.openxmlformats.org/officeDocument/2006/relationships/oleObject" Target="../embeddings/oleObject34.bin"/><Relationship Id="rId10" Type="http://schemas.openxmlformats.org/officeDocument/2006/relationships/hyperlink" Target="https://www.researchgate.net/profile/Aravind-Ganapathiraju/publication/255632752_Baum-Welch_Re-estimation_of_Hidden_Markov_Model/links/5610c41908ae6b29b49c8f9e/Baum-Welch-Re-estimation-of-Hidden-Markov-Model.pdf" TargetMode="External"/><Relationship Id="rId4" Type="http://schemas.openxmlformats.org/officeDocument/2006/relationships/image" Target="../media/image39.png"/><Relationship Id="rId9" Type="http://schemas.openxmlformats.org/officeDocument/2006/relationships/hyperlink" Target="https://youtu.be/nTwb9MXIBtM?si=y6SW7_j2nwYfJfuN"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image" Target="../media/image6.png"/><Relationship Id="rId7" Type="http://schemas.openxmlformats.org/officeDocument/2006/relationships/slide" Target="slide18.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slide" Target="slide26.xml"/><Relationship Id="rId5" Type="http://schemas.openxmlformats.org/officeDocument/2006/relationships/slide" Target="slide22.xml"/><Relationship Id="rId4" Type="http://schemas.microsoft.com/office/2007/relationships/hdphoto" Target="../media/hdphoto2.wdp"/><Relationship Id="rId9" Type="http://schemas.openxmlformats.org/officeDocument/2006/relationships/comments" Target="../comments/comment2.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47.xml"/><Relationship Id="rId6" Type="http://schemas.openxmlformats.org/officeDocument/2006/relationships/image" Target="../media/image41.emf"/><Relationship Id="rId5" Type="http://schemas.openxmlformats.org/officeDocument/2006/relationships/oleObject" Target="../embeddings/oleObject35.bin"/><Relationship Id="rId4" Type="http://schemas.microsoft.com/office/2007/relationships/hdphoto" Target="../media/hdphoto13.wdp"/></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42.gif"/><Relationship Id="rId5" Type="http://schemas.openxmlformats.org/officeDocument/2006/relationships/image" Target="../media/image9.emf"/><Relationship Id="rId4" Type="http://schemas.openxmlformats.org/officeDocument/2006/relationships/oleObject" Target="../embeddings/oleObject36.bin"/></Relationships>
</file>

<file path=ppt/slides/_rels/slide5.xml.rels><?xml version="1.0" encoding="UTF-8" standalone="yes"?>
<Relationships xmlns="http://schemas.openxmlformats.org/package/2006/relationships"><Relationship Id="rId8" Type="http://schemas.openxmlformats.org/officeDocument/2006/relationships/comments" Target="../comments/comment3.xml"/><Relationship Id="rId3" Type="http://schemas.openxmlformats.org/officeDocument/2006/relationships/image" Target="../media/image6.png"/><Relationship Id="rId7" Type="http://schemas.openxmlformats.org/officeDocument/2006/relationships/slide" Target="slide33.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slide" Target="slide38.xml"/><Relationship Id="rId5" Type="http://schemas.openxmlformats.org/officeDocument/2006/relationships/slide" Target="slide35.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3.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0.jpg"/><Relationship Id="rId5" Type="http://schemas.openxmlformats.org/officeDocument/2006/relationships/image" Target="../media/image9.emf"/><Relationship Id="rId10" Type="http://schemas.openxmlformats.org/officeDocument/2006/relationships/slide" Target="slide3.xml"/><Relationship Id="rId4" Type="http://schemas.openxmlformats.org/officeDocument/2006/relationships/oleObject" Target="../embeddings/oleObject12.bin"/><Relationship Id="rId9" Type="http://schemas.microsoft.com/office/2007/relationships/hdphoto" Target="../media/hdphoto4.wdp"/></Relationships>
</file>

<file path=ppt/slides/_rels/slide8.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notesSlide" Target="../notesSlides/notesSlide8.xml"/><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10.jpg"/><Relationship Id="rId5" Type="http://schemas.openxmlformats.org/officeDocument/2006/relationships/image" Target="../media/image9.emf"/><Relationship Id="rId10" Type="http://schemas.microsoft.com/office/2007/relationships/hdphoto" Target="../media/hdphoto5.wdp"/><Relationship Id="rId4" Type="http://schemas.openxmlformats.org/officeDocument/2006/relationships/oleObject" Target="../embeddings/oleObject13.bin"/><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slide" Target="slide3.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8.png"/><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5790182-7413-BF64-4264-36F5ABB9D606}"/>
            </a:ext>
          </a:extLst>
        </p:cNvPr>
        <p:cNvGrpSpPr/>
        <p:nvPr/>
      </p:nvGrpSpPr>
      <p:grpSpPr>
        <a:xfrm>
          <a:off x="0" y="0"/>
          <a:ext cx="0" cy="0"/>
          <a:chOff x="0" y="0"/>
          <a:chExt cx="0" cy="0"/>
        </a:xfrm>
      </p:grpSpPr>
      <p:pic>
        <p:nvPicPr>
          <p:cNvPr id="90" name="Picture 89">
            <a:extLst>
              <a:ext uri="{FF2B5EF4-FFF2-40B4-BE49-F238E27FC236}">
                <a16:creationId xmlns:a16="http://schemas.microsoft.com/office/drawing/2014/main" id="{19A2F609-2DEB-ECF1-BA0A-9E37110D9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5797" y="1035197"/>
            <a:ext cx="9480406" cy="4787605"/>
          </a:xfrm>
          <a:prstGeom prst="rect">
            <a:avLst/>
          </a:prstGeom>
        </p:spPr>
      </p:pic>
    </p:spTree>
    <p:extLst>
      <p:ext uri="{BB962C8B-B14F-4D97-AF65-F5344CB8AC3E}">
        <p14:creationId xmlns:p14="http://schemas.microsoft.com/office/powerpoint/2010/main" val="402171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1" fmla="*/ 0 w 2875305"/>
              <a:gd name="connsiteY0-2" fmla="*/ 2859741 h 2951181"/>
              <a:gd name="connsiteX1-3" fmla="*/ 2706170 w 2875305"/>
              <a:gd name="connsiteY1-4" fmla="*/ 2859741 h 2951181"/>
              <a:gd name="connsiteX2-5" fmla="*/ 2714519 w 2875305"/>
              <a:gd name="connsiteY2-6" fmla="*/ 2842410 h 2951181"/>
              <a:gd name="connsiteX3-7" fmla="*/ 2875305 w 2875305"/>
              <a:gd name="connsiteY3-8" fmla="*/ 2046010 h 2951181"/>
              <a:gd name="connsiteX4-9" fmla="*/ 829295 w 2875305"/>
              <a:gd name="connsiteY4-10" fmla="*/ 0 h 2951181"/>
              <a:gd name="connsiteX5-11" fmla="*/ 32896 w 2875305"/>
              <a:gd name="connsiteY5-12" fmla="*/ 160786 h 2951181"/>
              <a:gd name="connsiteX6-13" fmla="*/ 0 w 2875305"/>
              <a:gd name="connsiteY6-14" fmla="*/ 176632 h 2951181"/>
              <a:gd name="connsiteX7-15" fmla="*/ 91440 w 2875305"/>
              <a:gd name="connsiteY7-16" fmla="*/ 2951181 h 2951181"/>
              <a:gd name="connsiteX0-17" fmla="*/ 0 w 2875305"/>
              <a:gd name="connsiteY0-18" fmla="*/ 2859741 h 2859741"/>
              <a:gd name="connsiteX1-19" fmla="*/ 2706170 w 2875305"/>
              <a:gd name="connsiteY1-20" fmla="*/ 2859741 h 2859741"/>
              <a:gd name="connsiteX2-21" fmla="*/ 2714519 w 2875305"/>
              <a:gd name="connsiteY2-22" fmla="*/ 2842410 h 2859741"/>
              <a:gd name="connsiteX3-23" fmla="*/ 2875305 w 2875305"/>
              <a:gd name="connsiteY3-24" fmla="*/ 2046010 h 2859741"/>
              <a:gd name="connsiteX4-25" fmla="*/ 829295 w 2875305"/>
              <a:gd name="connsiteY4-26" fmla="*/ 0 h 2859741"/>
              <a:gd name="connsiteX5-27" fmla="*/ 32896 w 2875305"/>
              <a:gd name="connsiteY5-28" fmla="*/ 160786 h 2859741"/>
              <a:gd name="connsiteX6-29" fmla="*/ 0 w 2875305"/>
              <a:gd name="connsiteY6-30" fmla="*/ 176632 h 2859741"/>
              <a:gd name="connsiteX0-31" fmla="*/ 2706170 w 2875305"/>
              <a:gd name="connsiteY0-32" fmla="*/ 2859741 h 2859741"/>
              <a:gd name="connsiteX1-33" fmla="*/ 2714519 w 2875305"/>
              <a:gd name="connsiteY1-34" fmla="*/ 2842410 h 2859741"/>
              <a:gd name="connsiteX2-35" fmla="*/ 2875305 w 2875305"/>
              <a:gd name="connsiteY2-36" fmla="*/ 2046010 h 2859741"/>
              <a:gd name="connsiteX3-37" fmla="*/ 829295 w 2875305"/>
              <a:gd name="connsiteY3-38" fmla="*/ 0 h 2859741"/>
              <a:gd name="connsiteX4-39" fmla="*/ 32896 w 2875305"/>
              <a:gd name="connsiteY4-40" fmla="*/ 160786 h 2859741"/>
              <a:gd name="connsiteX5-41" fmla="*/ 0 w 2875305"/>
              <a:gd name="connsiteY5-42" fmla="*/ 176632 h 285974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4" name="Oval 223">
            <a:hlinkClick r:id="rId8" action="ppaction://hlinksldjump"/>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p:cNvGrpSpPr/>
            <p:nvPr/>
          </p:nvGrpSpPr>
          <p:grpSpPr>
            <a:xfrm rot="5400000">
              <a:off x="1055270" y="-538236"/>
              <a:ext cx="86591" cy="1729654"/>
              <a:chOff x="85292" y="59892"/>
              <a:chExt cx="86591" cy="1729654"/>
            </a:xfrm>
            <a:grpFill/>
          </p:grpSpPr>
          <p:sp>
            <p:nvSpPr>
              <p:cNvPr id="264" name="Oval 263"/>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p:cNvGrpSpPr/>
            <p:nvPr/>
          </p:nvGrpSpPr>
          <p:grpSpPr>
            <a:xfrm rot="5400000">
              <a:off x="1055270" y="-284344"/>
              <a:ext cx="86591" cy="1729654"/>
              <a:chOff x="85292" y="59892"/>
              <a:chExt cx="86591" cy="1729654"/>
            </a:xfrm>
            <a:grpFill/>
          </p:grpSpPr>
          <p:sp>
            <p:nvSpPr>
              <p:cNvPr id="28" name="Oval 2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rot="5400000">
              <a:off x="1055270" y="-30452"/>
              <a:ext cx="86591" cy="1729654"/>
              <a:chOff x="85292" y="59892"/>
              <a:chExt cx="86591" cy="1729654"/>
            </a:xfrm>
            <a:grpFill/>
          </p:grpSpPr>
          <p:sp>
            <p:nvSpPr>
              <p:cNvPr id="18" name="Oval 1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rot="5400000">
              <a:off x="1055270" y="223441"/>
              <a:ext cx="86591" cy="1729654"/>
              <a:chOff x="85292" y="59892"/>
              <a:chExt cx="86591" cy="1729654"/>
            </a:xfrm>
            <a:grpFill/>
          </p:grpSpPr>
          <p:sp>
            <p:nvSpPr>
              <p:cNvPr id="8" name="Oval 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p:cNvGrpSpPr/>
          <p:nvPr/>
        </p:nvGrpSpPr>
        <p:grpSpPr>
          <a:xfrm flipH="1">
            <a:off x="-7335" y="5836849"/>
            <a:ext cx="2054439" cy="578277"/>
            <a:chOff x="1171787" y="5711403"/>
            <a:chExt cx="2054439" cy="578277"/>
          </a:xfrm>
        </p:grpSpPr>
        <p:cxnSp>
          <p:nvCxnSpPr>
            <p:cNvPr id="227" name="Straight Connector 226"/>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p:cNvGrpSpPr/>
            <p:nvPr/>
          </p:nvGrpSpPr>
          <p:grpSpPr>
            <a:xfrm rot="5400000">
              <a:off x="1055270" y="-538236"/>
              <a:ext cx="86591" cy="1729654"/>
              <a:chOff x="85292" y="59892"/>
              <a:chExt cx="86591" cy="1729654"/>
            </a:xfrm>
            <a:grpFill/>
          </p:grpSpPr>
          <p:sp>
            <p:nvSpPr>
              <p:cNvPr id="223" name="Oval 22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p:cNvGrpSpPr/>
            <p:nvPr/>
          </p:nvGrpSpPr>
          <p:grpSpPr>
            <a:xfrm rot="5400000">
              <a:off x="1055270" y="-284344"/>
              <a:ext cx="86591" cy="1729654"/>
              <a:chOff x="85292" y="59892"/>
              <a:chExt cx="86591" cy="1729654"/>
            </a:xfrm>
            <a:grpFill/>
          </p:grpSpPr>
          <p:sp>
            <p:nvSpPr>
              <p:cNvPr id="213" name="Oval 21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rot="5400000">
              <a:off x="1055270" y="-30452"/>
              <a:ext cx="86591" cy="1729654"/>
              <a:chOff x="85292" y="59892"/>
              <a:chExt cx="86591" cy="1729654"/>
            </a:xfrm>
            <a:grpFill/>
          </p:grpSpPr>
          <p:sp>
            <p:nvSpPr>
              <p:cNvPr id="126" name="Oval 12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p:cNvGrpSpPr/>
            <p:nvPr/>
          </p:nvGrpSpPr>
          <p:grpSpPr>
            <a:xfrm rot="5400000">
              <a:off x="1055270" y="223441"/>
              <a:ext cx="86591" cy="1729654"/>
              <a:chOff x="85292" y="59892"/>
              <a:chExt cx="86591" cy="1729654"/>
            </a:xfrm>
            <a:grpFill/>
          </p:grpSpPr>
          <p:sp>
            <p:nvSpPr>
              <p:cNvPr id="116" name="Oval 11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p:cNvGrpSpPr/>
            <p:nvPr/>
          </p:nvGrpSpPr>
          <p:grpSpPr>
            <a:xfrm rot="5400000">
              <a:off x="1055270" y="-538236"/>
              <a:ext cx="86591" cy="1729654"/>
              <a:chOff x="85292" y="59892"/>
              <a:chExt cx="86591" cy="1729654"/>
            </a:xfrm>
            <a:grpFill/>
          </p:grpSpPr>
          <p:sp>
            <p:nvSpPr>
              <p:cNvPr id="332" name="Oval 33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p:cNvGrpSpPr/>
            <p:nvPr/>
          </p:nvGrpSpPr>
          <p:grpSpPr>
            <a:xfrm rot="5400000">
              <a:off x="1055270" y="-284344"/>
              <a:ext cx="86591" cy="1729654"/>
              <a:chOff x="85292" y="59892"/>
              <a:chExt cx="86591" cy="1729654"/>
            </a:xfrm>
            <a:grpFill/>
          </p:grpSpPr>
          <p:sp>
            <p:nvSpPr>
              <p:cNvPr id="322" name="Oval 32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p:cNvGrpSpPr/>
            <p:nvPr/>
          </p:nvGrpSpPr>
          <p:grpSpPr>
            <a:xfrm rot="5400000">
              <a:off x="1055270" y="-30452"/>
              <a:ext cx="86591" cy="1729654"/>
              <a:chOff x="85292" y="59892"/>
              <a:chExt cx="86591" cy="1729654"/>
            </a:xfrm>
            <a:grpFill/>
          </p:grpSpPr>
          <p:sp>
            <p:nvSpPr>
              <p:cNvPr id="312" name="Oval 31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p:cNvGrpSpPr/>
            <p:nvPr/>
          </p:nvGrpSpPr>
          <p:grpSpPr>
            <a:xfrm rot="5400000">
              <a:off x="1055270" y="223441"/>
              <a:ext cx="86591" cy="1729654"/>
              <a:chOff x="85292" y="59892"/>
              <a:chExt cx="86591" cy="1729654"/>
            </a:xfrm>
            <a:grpFill/>
          </p:grpSpPr>
          <p:sp>
            <p:nvSpPr>
              <p:cNvPr id="302" name="Oval 30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p:cNvGrpSpPr/>
            <p:nvPr/>
          </p:nvGrpSpPr>
          <p:grpSpPr>
            <a:xfrm rot="5400000">
              <a:off x="1055270" y="-538236"/>
              <a:ext cx="86591" cy="1729654"/>
              <a:chOff x="85292" y="59892"/>
              <a:chExt cx="86591" cy="1729654"/>
            </a:xfrm>
            <a:grpFill/>
          </p:grpSpPr>
          <p:sp>
            <p:nvSpPr>
              <p:cNvPr id="377" name="Oval 37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p:cNvGrpSpPr/>
            <p:nvPr/>
          </p:nvGrpSpPr>
          <p:grpSpPr>
            <a:xfrm rot="5400000">
              <a:off x="1055270" y="-284344"/>
              <a:ext cx="86591" cy="1729654"/>
              <a:chOff x="85292" y="59892"/>
              <a:chExt cx="86591" cy="1729654"/>
            </a:xfrm>
            <a:grpFill/>
          </p:grpSpPr>
          <p:sp>
            <p:nvSpPr>
              <p:cNvPr id="367" name="Oval 36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rot="5400000">
              <a:off x="1055270" y="-30452"/>
              <a:ext cx="86591" cy="1729654"/>
              <a:chOff x="85292" y="59892"/>
              <a:chExt cx="86591" cy="1729654"/>
            </a:xfrm>
            <a:grpFill/>
          </p:grpSpPr>
          <p:sp>
            <p:nvSpPr>
              <p:cNvPr id="357" name="Oval 35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rot="5400000">
              <a:off x="1055270" y="223441"/>
              <a:ext cx="86591" cy="1729654"/>
              <a:chOff x="85292" y="59892"/>
              <a:chExt cx="86591" cy="1729654"/>
            </a:xfrm>
            <a:grpFill/>
          </p:grpSpPr>
          <p:sp>
            <p:nvSpPr>
              <p:cNvPr id="347" name="Oval 34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5" name="Rectangle 254"/>
          <p:cNvSpPr/>
          <p:nvPr/>
        </p:nvSpPr>
        <p:spPr>
          <a:xfrm>
            <a:off x="687317" y="193417"/>
            <a:ext cx="7412477"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Algorithm:</a:t>
            </a:r>
          </a:p>
        </p:txBody>
      </p:sp>
      <p:sp>
        <p:nvSpPr>
          <p:cNvPr id="232" name="Rectangle 231"/>
          <p:cNvSpPr/>
          <p:nvPr/>
        </p:nvSpPr>
        <p:spPr>
          <a:xfrm>
            <a:off x="1241749" y="1275835"/>
            <a:ext cx="7514320" cy="2861310"/>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also known as the Training</a:t>
            </a:r>
            <a:r>
              <a:rPr lang="ar-EG" alt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 </a:t>
            </a: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Sequence Problem , and it is a special case of the expectation-maximization (EM) algorithm. </a:t>
            </a:r>
          </a:p>
          <a:p>
            <a:pPr marL="342900" indent="-342900">
              <a:buFont typeface="Arial" panose="020B0604020202020204" pitchFamily="34" charset="0"/>
              <a:buChar char="•"/>
            </a:pPr>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a:p>
            <a:pPr marL="342900" indent="-342900">
              <a:buFont typeface="Arial" panose="020B0604020202020204" pitchFamily="34" charset="0"/>
              <a:buChar char="•"/>
            </a:pP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Its primary purpose is to tune the parameters of a Hidden Markov Model (HMM), such as the state transition matrix P, the emission matrix E, and the initial state distribution </a:t>
            </a:r>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π₀</a:t>
            </a: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 in order to maximize the likelihood of the observed data given the model.</a:t>
            </a:r>
          </a:p>
        </p:txBody>
      </p:sp>
      <p:pic>
        <p:nvPicPr>
          <p:cNvPr id="233" name="Picture 232"/>
          <p:cNvPicPr>
            <a:picLocks noChangeAspect="1"/>
          </p:cNvPicPr>
          <p:nvPr/>
        </p:nvPicPr>
        <p:blipFill>
          <a:blip r:embed="rId9">
            <a:duotone>
              <a:prstClr val="black"/>
              <a:schemeClr val="bg1">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032620" y="4144402"/>
            <a:ext cx="7831198" cy="254951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1" fmla="*/ 0 w 2875305"/>
              <a:gd name="connsiteY0-2" fmla="*/ 2859741 h 2951181"/>
              <a:gd name="connsiteX1-3" fmla="*/ 2706170 w 2875305"/>
              <a:gd name="connsiteY1-4" fmla="*/ 2859741 h 2951181"/>
              <a:gd name="connsiteX2-5" fmla="*/ 2714519 w 2875305"/>
              <a:gd name="connsiteY2-6" fmla="*/ 2842410 h 2951181"/>
              <a:gd name="connsiteX3-7" fmla="*/ 2875305 w 2875305"/>
              <a:gd name="connsiteY3-8" fmla="*/ 2046010 h 2951181"/>
              <a:gd name="connsiteX4-9" fmla="*/ 829295 w 2875305"/>
              <a:gd name="connsiteY4-10" fmla="*/ 0 h 2951181"/>
              <a:gd name="connsiteX5-11" fmla="*/ 32896 w 2875305"/>
              <a:gd name="connsiteY5-12" fmla="*/ 160786 h 2951181"/>
              <a:gd name="connsiteX6-13" fmla="*/ 0 w 2875305"/>
              <a:gd name="connsiteY6-14" fmla="*/ 176632 h 2951181"/>
              <a:gd name="connsiteX7-15" fmla="*/ 91440 w 2875305"/>
              <a:gd name="connsiteY7-16" fmla="*/ 2951181 h 2951181"/>
              <a:gd name="connsiteX0-17" fmla="*/ 0 w 2875305"/>
              <a:gd name="connsiteY0-18" fmla="*/ 2859741 h 2859741"/>
              <a:gd name="connsiteX1-19" fmla="*/ 2706170 w 2875305"/>
              <a:gd name="connsiteY1-20" fmla="*/ 2859741 h 2859741"/>
              <a:gd name="connsiteX2-21" fmla="*/ 2714519 w 2875305"/>
              <a:gd name="connsiteY2-22" fmla="*/ 2842410 h 2859741"/>
              <a:gd name="connsiteX3-23" fmla="*/ 2875305 w 2875305"/>
              <a:gd name="connsiteY3-24" fmla="*/ 2046010 h 2859741"/>
              <a:gd name="connsiteX4-25" fmla="*/ 829295 w 2875305"/>
              <a:gd name="connsiteY4-26" fmla="*/ 0 h 2859741"/>
              <a:gd name="connsiteX5-27" fmla="*/ 32896 w 2875305"/>
              <a:gd name="connsiteY5-28" fmla="*/ 160786 h 2859741"/>
              <a:gd name="connsiteX6-29" fmla="*/ 0 w 2875305"/>
              <a:gd name="connsiteY6-30" fmla="*/ 176632 h 2859741"/>
              <a:gd name="connsiteX0-31" fmla="*/ 2706170 w 2875305"/>
              <a:gd name="connsiteY0-32" fmla="*/ 2859741 h 2859741"/>
              <a:gd name="connsiteX1-33" fmla="*/ 2714519 w 2875305"/>
              <a:gd name="connsiteY1-34" fmla="*/ 2842410 h 2859741"/>
              <a:gd name="connsiteX2-35" fmla="*/ 2875305 w 2875305"/>
              <a:gd name="connsiteY2-36" fmla="*/ 2046010 h 2859741"/>
              <a:gd name="connsiteX3-37" fmla="*/ 829295 w 2875305"/>
              <a:gd name="connsiteY3-38" fmla="*/ 0 h 2859741"/>
              <a:gd name="connsiteX4-39" fmla="*/ 32896 w 2875305"/>
              <a:gd name="connsiteY4-40" fmla="*/ 160786 h 2859741"/>
              <a:gd name="connsiteX5-41" fmla="*/ 0 w 2875305"/>
              <a:gd name="connsiteY5-42" fmla="*/ 176632 h 285974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5" name="Oval 224">
            <a:hlinkClick r:id="rId8" action="ppaction://hlinksldjump"/>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p:cNvGrpSpPr/>
            <p:nvPr/>
          </p:nvGrpSpPr>
          <p:grpSpPr>
            <a:xfrm rot="5400000">
              <a:off x="1055270" y="-538236"/>
              <a:ext cx="86591" cy="1729654"/>
              <a:chOff x="85292" y="59892"/>
              <a:chExt cx="86591" cy="1729654"/>
            </a:xfrm>
            <a:grpFill/>
          </p:grpSpPr>
          <p:sp>
            <p:nvSpPr>
              <p:cNvPr id="264" name="Oval 263"/>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p:cNvGrpSpPr/>
            <p:nvPr/>
          </p:nvGrpSpPr>
          <p:grpSpPr>
            <a:xfrm rot="5400000">
              <a:off x="1055270" y="-284344"/>
              <a:ext cx="86591" cy="1729654"/>
              <a:chOff x="85292" y="59892"/>
              <a:chExt cx="86591" cy="1729654"/>
            </a:xfrm>
            <a:grpFill/>
          </p:grpSpPr>
          <p:sp>
            <p:nvSpPr>
              <p:cNvPr id="28" name="Oval 2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rot="5400000">
              <a:off x="1055270" y="-30452"/>
              <a:ext cx="86591" cy="1729654"/>
              <a:chOff x="85292" y="59892"/>
              <a:chExt cx="86591" cy="1729654"/>
            </a:xfrm>
            <a:grpFill/>
          </p:grpSpPr>
          <p:sp>
            <p:nvSpPr>
              <p:cNvPr id="18" name="Oval 1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rot="5400000">
              <a:off x="1055270" y="223441"/>
              <a:ext cx="86591" cy="1729654"/>
              <a:chOff x="85292" y="59892"/>
              <a:chExt cx="86591" cy="1729654"/>
            </a:xfrm>
            <a:grpFill/>
          </p:grpSpPr>
          <p:sp>
            <p:nvSpPr>
              <p:cNvPr id="8" name="Oval 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p:cNvGrpSpPr/>
          <p:nvPr/>
        </p:nvGrpSpPr>
        <p:grpSpPr>
          <a:xfrm flipH="1">
            <a:off x="-7335" y="5836849"/>
            <a:ext cx="2054439" cy="578277"/>
            <a:chOff x="1171787" y="5711403"/>
            <a:chExt cx="2054439" cy="578277"/>
          </a:xfrm>
        </p:grpSpPr>
        <p:cxnSp>
          <p:nvCxnSpPr>
            <p:cNvPr id="227" name="Straight Connector 226"/>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p:cNvGrpSpPr/>
            <p:nvPr/>
          </p:nvGrpSpPr>
          <p:grpSpPr>
            <a:xfrm rot="5400000">
              <a:off x="1055270" y="-538236"/>
              <a:ext cx="86591" cy="1729654"/>
              <a:chOff x="85292" y="59892"/>
              <a:chExt cx="86591" cy="1729654"/>
            </a:xfrm>
            <a:grpFill/>
          </p:grpSpPr>
          <p:sp>
            <p:nvSpPr>
              <p:cNvPr id="223" name="Oval 22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p:cNvGrpSpPr/>
            <p:nvPr/>
          </p:nvGrpSpPr>
          <p:grpSpPr>
            <a:xfrm rot="5400000">
              <a:off x="1055270" y="-284344"/>
              <a:ext cx="86591" cy="1729654"/>
              <a:chOff x="85292" y="59892"/>
              <a:chExt cx="86591" cy="1729654"/>
            </a:xfrm>
            <a:grpFill/>
          </p:grpSpPr>
          <p:sp>
            <p:nvSpPr>
              <p:cNvPr id="213" name="Oval 21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rot="5400000">
              <a:off x="1055270" y="-30452"/>
              <a:ext cx="86591" cy="1729654"/>
              <a:chOff x="85292" y="59892"/>
              <a:chExt cx="86591" cy="1729654"/>
            </a:xfrm>
            <a:grpFill/>
          </p:grpSpPr>
          <p:sp>
            <p:nvSpPr>
              <p:cNvPr id="126" name="Oval 12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p:cNvGrpSpPr/>
            <p:nvPr/>
          </p:nvGrpSpPr>
          <p:grpSpPr>
            <a:xfrm rot="5400000">
              <a:off x="1055270" y="223441"/>
              <a:ext cx="86591" cy="1729654"/>
              <a:chOff x="85292" y="59892"/>
              <a:chExt cx="86591" cy="1729654"/>
            </a:xfrm>
            <a:grpFill/>
          </p:grpSpPr>
          <p:sp>
            <p:nvSpPr>
              <p:cNvPr id="116" name="Oval 11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p:cNvGrpSpPr/>
            <p:nvPr/>
          </p:nvGrpSpPr>
          <p:grpSpPr>
            <a:xfrm rot="5400000">
              <a:off x="1055270" y="-538236"/>
              <a:ext cx="86591" cy="1729654"/>
              <a:chOff x="85292" y="59892"/>
              <a:chExt cx="86591" cy="1729654"/>
            </a:xfrm>
            <a:grpFill/>
          </p:grpSpPr>
          <p:sp>
            <p:nvSpPr>
              <p:cNvPr id="332" name="Oval 33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p:cNvGrpSpPr/>
            <p:nvPr/>
          </p:nvGrpSpPr>
          <p:grpSpPr>
            <a:xfrm rot="5400000">
              <a:off x="1055270" y="-284344"/>
              <a:ext cx="86591" cy="1729654"/>
              <a:chOff x="85292" y="59892"/>
              <a:chExt cx="86591" cy="1729654"/>
            </a:xfrm>
            <a:grpFill/>
          </p:grpSpPr>
          <p:sp>
            <p:nvSpPr>
              <p:cNvPr id="322" name="Oval 32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p:cNvGrpSpPr/>
            <p:nvPr/>
          </p:nvGrpSpPr>
          <p:grpSpPr>
            <a:xfrm rot="5400000">
              <a:off x="1055270" y="-30452"/>
              <a:ext cx="86591" cy="1729654"/>
              <a:chOff x="85292" y="59892"/>
              <a:chExt cx="86591" cy="1729654"/>
            </a:xfrm>
            <a:grpFill/>
          </p:grpSpPr>
          <p:sp>
            <p:nvSpPr>
              <p:cNvPr id="312" name="Oval 31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p:cNvGrpSpPr/>
            <p:nvPr/>
          </p:nvGrpSpPr>
          <p:grpSpPr>
            <a:xfrm rot="5400000">
              <a:off x="1055270" y="223441"/>
              <a:ext cx="86591" cy="1729654"/>
              <a:chOff x="85292" y="59892"/>
              <a:chExt cx="86591" cy="1729654"/>
            </a:xfrm>
            <a:grpFill/>
          </p:grpSpPr>
          <p:sp>
            <p:nvSpPr>
              <p:cNvPr id="302" name="Oval 30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p:cNvGrpSpPr/>
            <p:nvPr/>
          </p:nvGrpSpPr>
          <p:grpSpPr>
            <a:xfrm rot="5400000">
              <a:off x="1055270" y="-538236"/>
              <a:ext cx="86591" cy="1729654"/>
              <a:chOff x="85292" y="59892"/>
              <a:chExt cx="86591" cy="1729654"/>
            </a:xfrm>
            <a:grpFill/>
          </p:grpSpPr>
          <p:sp>
            <p:nvSpPr>
              <p:cNvPr id="377" name="Oval 37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p:cNvGrpSpPr/>
            <p:nvPr/>
          </p:nvGrpSpPr>
          <p:grpSpPr>
            <a:xfrm rot="5400000">
              <a:off x="1055270" y="-284344"/>
              <a:ext cx="86591" cy="1729654"/>
              <a:chOff x="85292" y="59892"/>
              <a:chExt cx="86591" cy="1729654"/>
            </a:xfrm>
            <a:grpFill/>
          </p:grpSpPr>
          <p:sp>
            <p:nvSpPr>
              <p:cNvPr id="367" name="Oval 36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rot="5400000">
              <a:off x="1055270" y="-30452"/>
              <a:ext cx="86591" cy="1729654"/>
              <a:chOff x="85292" y="59892"/>
              <a:chExt cx="86591" cy="1729654"/>
            </a:xfrm>
            <a:grpFill/>
          </p:grpSpPr>
          <p:sp>
            <p:nvSpPr>
              <p:cNvPr id="357" name="Oval 35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rot="5400000">
              <a:off x="1055270" y="223441"/>
              <a:ext cx="86591" cy="1729654"/>
              <a:chOff x="85292" y="59892"/>
              <a:chExt cx="86591" cy="1729654"/>
            </a:xfrm>
            <a:grpFill/>
          </p:grpSpPr>
          <p:sp>
            <p:nvSpPr>
              <p:cNvPr id="347" name="Oval 34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5" name="Rectangle 254"/>
          <p:cNvSpPr/>
          <p:nvPr/>
        </p:nvSpPr>
        <p:spPr>
          <a:xfrm>
            <a:off x="687317" y="193417"/>
            <a:ext cx="7412477"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Algorithm:</a:t>
            </a:r>
          </a:p>
        </p:txBody>
      </p:sp>
      <p:sp>
        <p:nvSpPr>
          <p:cNvPr id="232" name="Rectangle 231"/>
          <p:cNvSpPr/>
          <p:nvPr/>
        </p:nvSpPr>
        <p:spPr>
          <a:xfrm>
            <a:off x="1241749" y="1275835"/>
            <a:ext cx="7514320" cy="1938020"/>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The Baum-Welch algorithm aims to find the optimal values for the transition probabilities and emission probabilities of an HMM given a set of observed sequences . It does this by iteratively updating the parameters based on the observed sequences and the current estimates of the parameters.</a:t>
            </a:r>
          </a:p>
        </p:txBody>
      </p:sp>
      <p:pic>
        <p:nvPicPr>
          <p:cNvPr id="233" name="Picture 232"/>
          <p:cNvPicPr>
            <a:picLocks noChangeAspect="1"/>
          </p:cNvPicPr>
          <p:nvPr/>
        </p:nvPicPr>
        <p:blipFill>
          <a:blip r:embed="rId9">
            <a:duotone>
              <a:prstClr val="black"/>
              <a:schemeClr val="bg1">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032620" y="4144402"/>
            <a:ext cx="7831198" cy="254951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47655-A4CB-1BE4-8896-057E1EDABF12}"/>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A5738069-6E95-0FE3-8AA3-9EC14DE38492}"/>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6876D114-7594-4928-87D0-C5734CA99F7F}"/>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DF91175-C27F-558D-9501-DBBEF5055998}"/>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BDFACD50-40DA-65B7-BDC9-CC182BE13842}"/>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91BD340-ACA6-9A79-B7C5-83DE210B674A}"/>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203DC1ED-1FFC-A7F4-615C-F5B2CBD7B50D}"/>
              </a:ext>
            </a:extLst>
          </p:cNvPr>
          <p:cNvSpPr txBox="1"/>
          <p:nvPr/>
        </p:nvSpPr>
        <p:spPr>
          <a:xfrm>
            <a:off x="4197598" y="4870863"/>
            <a:ext cx="8817134" cy="1569660"/>
          </a:xfrm>
          <a:prstGeom prst="rect">
            <a:avLst/>
          </a:prstGeom>
          <a:noFill/>
        </p:spPr>
        <p:txBody>
          <a:bodyPr wrap="square">
            <a:spAutoFit/>
          </a:bodyPr>
          <a:lstStyle/>
          <a:p>
            <a:pPr algn="l"/>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Baum-Welch Algorithm Phases</a:t>
            </a:r>
          </a:p>
        </p:txBody>
      </p:sp>
      <p:sp>
        <p:nvSpPr>
          <p:cNvPr id="25" name="Freeform: Shape 24">
            <a:extLst>
              <a:ext uri="{FF2B5EF4-FFF2-40B4-BE49-F238E27FC236}">
                <a16:creationId xmlns:a16="http://schemas.microsoft.com/office/drawing/2014/main" id="{E2C3D23B-4F4B-0E7B-69E7-EABBE9026349}"/>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276E637D-13CB-AADD-774A-DA453211F4ED}"/>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578B252E-1EF1-9F80-5C76-9D23979A1C48}"/>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898AE760-5C1B-6AD7-947F-85D9644D8879}"/>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151C727-9E78-8C75-77BF-718D1885BD81}"/>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D18605EA-6B8F-830D-F6DE-19404C2342AA}"/>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3</a:t>
            </a:r>
          </a:p>
        </p:txBody>
      </p:sp>
      <p:grpSp>
        <p:nvGrpSpPr>
          <p:cNvPr id="170" name="Group 169">
            <a:extLst>
              <a:ext uri="{FF2B5EF4-FFF2-40B4-BE49-F238E27FC236}">
                <a16:creationId xmlns:a16="http://schemas.microsoft.com/office/drawing/2014/main" id="{0EBEC8D7-C9E7-99B7-E1DD-5A37700B180D}"/>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3B8B41B8-380D-15DD-5AE7-B688BDE429A3}"/>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047F6D3B-94A5-9575-E519-BDA27030AE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EEE03504-C0E9-85CA-EC77-B93E38DF006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981534A5-F508-6330-7699-D98190FD572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5028E379-4282-4AA4-ABEF-5F4BDB759DA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B374959B-8625-5303-F582-D001605534E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BEFE2FC1-91CC-B034-FE56-A7FB7D05974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4242A2A5-9007-087C-AA3B-8A288FDC432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98F7C303-6C86-6FE8-BA58-EED6E2D8763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2B354AEA-8028-2C59-154B-DAD849AB3B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9F2807FD-4B07-6F94-89F6-05A23A54B6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FAE5EAF1-641A-04BD-52B7-C40FF528445E}"/>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5B52D19F-76BD-8E6D-684B-36CC8B5C674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144AE988-C6AE-B2D6-A5A3-511DFCA2E7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FADEE37B-7439-2E72-6C40-31B4126DF43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DB33A3B6-1A8F-F1EE-5833-3F538CD9CF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5F0EE752-DDFE-9AC6-9225-6A7467B0900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A3ADEDCB-490A-336E-74B3-DD5BA1FCC48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708DE276-109F-15E2-F755-5933B738875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B17DAB77-D4DD-E8F2-D721-AA6799EB962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1513FFF5-7EE0-4868-9957-9E922248863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DCF97C29-28F0-16C4-3B49-49301FF9679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E1EAC69E-2F79-C225-088C-337426162203}"/>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B9851733-41C6-354E-1A39-4CE74097CFB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2CC8B5B2-2AF0-18C7-A395-6366803E68E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EACBC81D-5396-1509-0282-149714EC09A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844ED78C-DB61-095A-FA60-E09E7EA7573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CE46E49B-1FDE-68D6-547C-6DF189B44C1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E3E9322D-46D9-BE23-1464-1F3B908BED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FC83C584-9B24-DE8C-BC05-6886F37907B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3C8A1B04-9BF4-4E2A-6D3A-84C71AF4E3A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94583CF0-2DBA-175C-C942-A81F2957C4F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A257DBAE-B712-7E23-A67B-4825CBC267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0C66D19A-5274-9264-279C-2D8BD5D4B015}"/>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196C4A05-A3D5-C9BA-20F5-C5068889372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8110E577-149F-B237-3652-0515AC7CB1A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70D1AEA3-F929-AC95-5DDB-78D7676C23D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4C951AD1-54AD-696F-07BF-39FCF0BAC45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981001C8-6ECE-089D-4547-09B91EC93A3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01810E08-1D07-F00B-7BDD-11CC48120B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ADCE2AEA-E96D-0153-F432-33A0E2DCF6D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085FC3FF-100D-44A2-D848-D81626AB3E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0AEC7E24-F1D9-7150-C3FA-72C3258C2AF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678FE7C6-241B-F0D3-5E7B-6CA8C4DAB3B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1728FF59-55D4-DD37-AB6D-5B84EA3AE3DE}"/>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23CE9415-1680-6890-12A6-0A69852FB9F3}"/>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4B6345F4-8602-AC22-8B0A-EDE1D6F436B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34B8B295-E83D-AAA0-C0D0-EC46910F21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8569532A-7988-1C58-D675-72C8022A7DE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C11E584F-35CE-09AA-DA4C-735971C46AE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3C43B309-00D3-F112-B30E-E7B405FD33C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48EFE818-67DA-1E58-ED4A-BA577E3A1F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F1A07BC4-806D-C9AB-FE88-8A8CBD5D12F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EFE764DD-862A-EB71-B056-14DFC73B222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16E2FF37-9093-860C-A6AD-86E312F2FA2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8F789F28-09F1-4177-3A1A-75C2FADB5F3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C387BF43-3713-6C56-B227-B73D26CE9F64}"/>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D53C9DEA-30B6-089E-6B63-44E35D5ABA4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1D2E01AB-F4CD-BC44-6FA1-0A377418EA7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8520C813-F242-D008-7E86-A7B1FABA548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5614FB8D-4B4D-5BE9-734F-E8CF8F93AC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D2C6AFC9-EDEF-DE9B-DAD5-897B186456D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1A3A6B30-0949-34BA-6AE9-88BFE797D3F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EE1362FB-CF72-4BE7-935A-DA2BAC34B1A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3BE6CAFF-DF7A-8DB2-85DE-10429B33E7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8F426AEA-6331-B44D-3193-3D58A73A2E6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76039BA0-5507-142F-A2DB-F3DBB67257A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8B57B1E2-9141-F882-D826-C94A2A800105}"/>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1C150C7D-0130-2CE4-66F2-6B9F14EE8F8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2727E5F4-787D-AD7E-6CFB-DF948AD1306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3BB095D2-B58F-62C1-7361-525628AD250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D2198736-F4BC-1831-17CC-579BA1A1D0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2838FD6B-611A-3859-2D04-46E9A036433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C571B96B-7043-5361-56A3-3EDD3A0135C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712BDEFA-22A8-186B-C659-E152B02109C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2CE85EBC-419E-F348-76CE-73363B84D88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6FC10825-57A2-E8C7-3155-07F5631AD75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6DC78371-1F83-CEC8-936F-36A70FCCCD4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88E3028C-58B1-9A3A-A8D4-7E623FC446CF}"/>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30EC9A46-646C-C821-5245-11C8A5F2211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1E9ACE67-FF85-264D-DEC9-306D5461B15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F53FE6A7-708C-8734-4248-161BAB4985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7347A5E3-83D6-1530-B863-6DAE35E8E60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EF58443D-D2AD-2F41-D308-8826217D067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0DC95ABD-B4D4-6484-4B5E-76B66C3849F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B9B39DC6-ACE4-93C5-7DB6-30AFE6E7187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9AFD4A1C-A51C-90A8-B598-0DAF862E34D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1B13DEA8-D791-8831-AE45-49DDD714240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5A290B71-DDE4-8C35-E420-3BCC6F0CC28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F7A57140-F4F8-315F-DF03-2A48F579BF2F}"/>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53D86BE5-53E3-8800-91C2-9F3E694B50D3}"/>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39D7DE8E-18E9-40E7-E3E4-104931CA82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B5BAAB5F-C7F6-089C-A44A-A1F6A591860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5776781E-3641-9B57-59DC-D3B0051BCB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42B484FC-47B3-6E0F-B9AF-2B9A4C93C9C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71BD86E9-3754-572D-F5BB-F52440D92F7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5F47A962-0642-7147-0959-6352A998F62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06BC56DB-72A0-33B7-D848-1BBFA66F56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697DB437-736F-9EE9-F96F-CAD8320536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07E68FD9-24C3-5917-A6AA-E4494C09F02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376A141F-43D3-4138-3838-E33E62C4A30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0A5689A0-827E-6095-FDB6-40D3EE86339B}"/>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07CB1613-7B04-4983-F605-38A6DD079E9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D3E17AA9-C63A-EC73-2E59-AB1C6298DB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96F6BDCC-0CB5-38DA-6833-76737DAB4C7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F4C98A1C-3702-A28D-584B-5A9ED76737E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E091AAC8-AF38-D6D1-BDEF-A581608122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51680E1E-0AB1-6983-22AE-50409512270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D91D382C-83F9-B3A1-1A07-29220FD4214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DAB88809-C8A1-7EA4-1587-AF037C58A86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D5A3F0A4-CFBB-5599-98E3-5F85CE65FEC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09AE789F-08AA-AB25-374F-6814E70AC8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703AEB0E-9041-1829-15F3-EDD56F5EA666}"/>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CFBB124A-FB6F-82F9-A82E-4E86213C332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4358342C-03C6-BFE6-DF36-639C3DBC36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C263F5DE-C729-B920-D45C-AEA5C207ED0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49CB1EA6-AA80-E4AB-3CFD-6E4799B3AA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B09853BF-DF37-4302-A174-5987D88CE5C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094242CC-A7AA-8AE1-1492-119182DD87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617E85E4-8A05-56F8-3005-82576DF8DD1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3E287196-6FBE-C9E1-E5D9-2A881C7B4B6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3E374BBC-4331-72AC-9E28-DA55AEBEDCF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6CE4A694-30D4-ACF4-578B-4D0AB94826A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B9388F94-2397-494D-0C45-B14321AB9254}"/>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E85B39B3-CB74-6226-4B48-2A3F3BD731A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4D88E071-5A8D-1940-917F-C93FF3A21AA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A4E16D20-E3BF-44F2-0870-979F52F22F1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83BB7C7B-C95C-9246-EB95-5E94204EF4D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446802D2-A4D7-F6CB-BB95-CA2B3243FC7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18160C9E-932E-B6A4-30F3-7BAFD9C51FA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42ABA7B4-7ADE-A30A-C0F6-84472C71644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7C59F214-35F3-AC50-B9B6-1E178250529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209470CE-A86F-1909-0401-896CC531A6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7CD82AAE-C4B5-A5B1-2D38-78D38D5FE95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3FD5888F-EB87-B76B-99E3-734DA25C9E51}"/>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C6C111C7-E157-3011-6153-ADC294DF2F97}"/>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88637136-6B4F-F682-C632-1F26CBDDD44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E38B8A47-1F46-EEA6-9E1F-6934DB97193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19C0C845-4638-2709-8053-2A8C730CB06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B44F9EDF-1455-72A7-2D14-90D2C4F7F4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DFF5848F-3C73-D350-DC30-46F923D834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7E98F887-CD48-B3FB-A5DE-2AB1300025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275E64D5-2695-B463-D330-EE3A156A000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35C43FFB-3E95-B37B-B06E-D202362F03E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39CC77E3-1B95-B5EE-A453-2F8B9E8B1C9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382C0DF4-48FA-D46D-7C36-8A8AE20FBE5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864A353B-D466-D6DF-64B7-6E33CB0AB97C}"/>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810B356F-7272-B165-F56B-D41D08EBA4B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FEB645D5-81ED-D4FC-E528-CBDF7A953AA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0BE0E72B-FF5C-59BB-0181-A65FDB3C75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6ADF5519-84C5-2528-D840-FBD7AE500D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8C00D1E1-3E6B-2632-6C1D-91A023B0F0E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2A61A0B0-99C5-BEC7-9035-4E8FBC292F9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7B6F7B56-EB51-8E3F-A09F-2225A6F64E0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6D5D2341-4BC6-6BC5-035F-1F531E1969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6DEDE813-6057-4399-BA18-47E5486A9C2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315A8063-2496-8E88-AA68-FD6A6AC3A00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754E1F94-85F0-A7D0-B645-4D9862927885}"/>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2E5179DA-18A1-F675-9700-9453D0A1EB4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CBC8E076-5A08-5E9E-1487-BA814F9A96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882A0FD5-DCD6-CC8C-4577-57002FCEF4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E30E1280-FC74-CCDC-9EDF-E387EE3636D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388B1572-BD0E-FB24-6603-820CAE01F34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8376DC3F-7B5F-72C4-16AD-63A00D97EBF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51780D6F-0E7C-482A-DE04-DD241DB9DD4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84854399-38A8-D499-37FC-1AAD927A783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E889F382-2553-4C72-C442-C6521A717C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BDE40E70-EE49-3B47-34B8-5B69705D173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C628B854-1411-E12D-8D04-B6657BB895AE}"/>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6008FAF5-07C6-6A3C-1D70-5AD8C725204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B78F722F-82B3-EC9D-89D4-89A3DFBBE3B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EB497890-C1E7-9594-C652-C81E18EEB0D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345DB187-BA40-6D67-AD39-2E417E2894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C9C3B4BF-F9D1-D72D-923D-04244913F94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1EEA0B7D-EC9A-5F96-A597-08909ACCB64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1A6C6113-0174-1680-A534-C5AC420FC46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C57349BA-17FC-3CD9-9FA1-02ACF101435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7B3C2D86-090E-80A4-192D-D34E7BA790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165BAFA0-C35C-B7D4-4438-8DAAFEBCD62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0D18437F-73AD-AE74-33DD-1A937EE0376D}"/>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4B0885A2-6B35-6C88-6D16-0D88D2EB5F1A}"/>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5762EA85-135A-255F-CAB8-D6F702DAE9CD}"/>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D9024432-0B65-24BC-C5D7-BFED5D8AA59D}"/>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DDAABDA4-ADE2-005F-CC1D-CEC32A7DFE64}"/>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B629837D-A2BF-1AC5-2F78-1F7B00B9ACD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CD1DB276-1369-3662-78F9-3E3BF538DC3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872176BB-B835-0E0F-7311-36B76F3303C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5E57483E-07B3-C2E3-FF9B-CB0A8CCFFE1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48AA34F8-7A0F-B6AD-2CE1-A3746AEBDA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A7CE6045-28DE-C942-59BF-0C4B8284FF4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280A2C7A-7FA9-B09F-F013-46AF13B13C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530DC6DD-C39A-B07F-F180-CC27A3F12E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CFE7EB1D-CBDD-C574-583E-B60328BFF83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3ADD56C0-396A-801E-9228-D91014CAA32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8AD4B7BA-C756-B52D-7E5B-4EF790BACE7B}"/>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1E3E27DB-5998-7DBD-B444-B20F0E47CEB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333D466F-8E5E-7A6E-C8DD-CC5906C300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B468201D-8BBE-FFCB-7D13-05B9F01D9D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DC7A5C78-7210-7C7D-933F-D6C564F5AFE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189EC6DE-600B-7473-EC77-F6541CE2AF2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2AAD2C37-794C-97A0-3B54-896E5D285A6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F19BFABD-1E4F-8786-D122-CB421A4A17E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320EF5AF-F07F-6242-69E5-BA612AC7016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BD71061E-BE9D-7EFC-4E7A-ADEAA6B77C5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31B9221E-78A0-9363-E0A3-BCB78BAB24E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B28983C4-4FD9-8D1C-8F86-575B2E4DF53D}"/>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968EB80B-19A6-CDFA-B823-F02392612D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38D0E188-AC56-5F7B-E79F-D314FA9D67D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282DFD65-6315-BD89-0F25-3721F0AD517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82CD5A66-B04C-DBDA-D003-5FA17C026B6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F79BD5AE-2FDD-544A-4146-67D1948FAD9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783B4B60-EB00-C7B2-9374-D9F040FCC4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DF4A0BBA-E793-B8E6-816C-40B8CAFBEB2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3E521C92-D82E-B567-E7ED-D1738753062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4F50ED13-2FDF-607C-9ABE-B88D1A224DF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6E7A5C10-2715-EBAD-A12A-FB542741B8C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44CD1B62-CEC4-6A51-2B2F-021E31FF8FC2}"/>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A8C6A37F-4BE0-B636-912F-A3C73D61B68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554AA7C8-02D7-CDE9-C1CE-F44AD16786E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5572A37C-A242-A72A-BE5D-0A1CE39849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36DCB874-EC86-6D44-C3F3-8734EBD7610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FEC8B3CC-5F93-ADE7-98E9-096CC38691F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84D700F0-3035-310D-6230-915C114AFD9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1D7425D9-E0AC-924D-D58E-BB7D8045417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AED2A32A-1BFC-82FC-7811-B44713E466F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C36E21FC-680A-2776-DD44-BEC308D95A4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88F2FFE1-F526-656E-6515-8F9DC5BB59C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24967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CF16A-6AD6-D527-B51A-E9079D5C8FCB}"/>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A1B7C455-3187-01D5-105B-EB88E05D7E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1D04F109-D4D1-E635-E455-3351E085710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D1C13EEB-7A06-1908-2840-AF5010190D3C}"/>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902D1777-0E3A-B7D6-43EC-8A71D525785E}"/>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7D840988-5B60-0F78-6ED6-5951CADE7394}"/>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42470D38-448E-4169-7F52-40DC45A93ABE}"/>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ED5853AF-9222-3589-C013-87DE8FFCDD30}"/>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97004F40-15E9-54E7-CAC3-256B750A8976}"/>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0" name="Oval 229">
            <a:hlinkClick r:id="rId8" action="ppaction://hlinksldjump"/>
            <a:extLst>
              <a:ext uri="{FF2B5EF4-FFF2-40B4-BE49-F238E27FC236}">
                <a16:creationId xmlns:a16="http://schemas.microsoft.com/office/drawing/2014/main" id="{626136BA-C5E5-ECAD-1FDD-BF1A82035EC3}"/>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6883A420-0D26-67F6-12B3-A80CDC5CD928}"/>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57B79688-265F-B2A7-4544-2845B5B68841}"/>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4AA90C03-BC3F-5FC0-EB6B-DDC808D153E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2140DB3F-2501-F87D-DF7C-76F014731AC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888144F5-D951-B973-DCB2-B90D77F7787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5C825B73-8578-2148-5178-25E5AB1F8C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A04D6074-B83D-5D20-D75A-4BAD02C67D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F2BDD3C9-3674-3B06-898C-70C4A2584B4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0F48893F-2DE7-09DE-EA2A-084445B413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4155DF98-03D3-690F-DD99-32D5B1D6AE7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120A828D-BEC2-607B-82C6-94DE0294343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CEDCB83F-6628-7728-37CB-4166E9C24EC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DAEB3877-ECE9-1071-E8A0-5FF78F87E6F2}"/>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686C3FB0-51C9-5DD8-0136-315247816BD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B7EC04D4-95E2-449C-47F1-F89DCE0E4CA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33784427-8A95-C954-0D8B-64D441FD3D6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A7BD336E-8CFA-41F9-BD42-13767A0E8EE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2654EE56-4DFC-3AEB-DC8B-9589EB73053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1227BEDF-137D-3965-11E1-1EEE00264CF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9D75D4EB-547E-7AF2-59D8-5D18B0A365E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C779FEC6-F477-EB2E-A100-A63874A21E1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5384827D-A893-514A-F852-4CC56FD7604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2AD50D34-862B-1D84-2277-5ECB38657EA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21B96F92-7AC8-9EF3-9F17-6797EB5BA1A4}"/>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2AF4FA09-321C-FB6B-3AE6-9AA7B5FCA5D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E59BED8-B756-D7EA-20D6-EC2A31D5555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A93088D4-2559-6150-B464-18C57134F81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FA00B4A0-B2B9-9305-C28B-F83C9A21F8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ACABD2DB-DBAC-422E-8EF0-8656E5AF335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7D36F3-C0E2-8956-D025-F5EF967128C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BABBC3EB-2378-BC9B-B25E-34EA4237DBB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FD29F24-E78C-3526-733C-FF4E5F7A019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FFB8BE6-400E-DC87-7C8E-F1A42BC8F43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090269A-45AC-7DC4-356D-A5DBF74FC7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E39C5E41-DA9B-86CB-DA21-1CFE215E680C}"/>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35DA52A5-439D-AF70-D799-156F47073BE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A79E10DA-9351-9F6B-EDB8-A3C7E65D94C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226971A-AB6A-6495-179E-A584C8B87C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4C7BF90-9B32-E988-A0C6-7FA89601CBF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5D58EE8-0139-6F38-E5EA-8E3DBDF55CF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6A2A888-1470-4FBA-D1CD-7F79DE72C2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5910D6D-4FAC-1960-86EA-79A56E2DD28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267E5EC-F09D-F47A-63FA-C6E764683B4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910B63B-6F62-5765-B545-566455AB3AB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28DE61C-F139-0698-FAC1-E9D17DC1C4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190C38C2-6120-3E51-5CCA-94423BFF64EA}"/>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70F658A2-5A0E-F1B1-6265-97503271DBF8}"/>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C87980A0-CB1E-99B0-1636-25B6A28AB43E}"/>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1C202FE6-42C8-67BE-A959-50DE1F7ADC44}"/>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8F5A924A-0A15-38CB-8BB2-172932E0D2EC}"/>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0F07E779-64B1-C2CA-7B7D-FE3665BF7E25}"/>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A02B0566-28A2-4873-B2C4-A1B566D08D7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7C053F37-789B-F537-BE78-369C65CB2B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FDAA8604-ECFE-9077-57CC-9EF580D200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E552D730-8BF4-0351-156B-1098DC10F90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289D9A85-8164-1281-2CC9-2440B4877E5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ED38A8EC-1432-DE1D-089E-5519A85478D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A49DE39C-F569-0B0C-53E9-8F127032F69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0159C5F3-A64B-1741-EABD-5EED9047A57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88F07455-50B4-8928-141E-23E2A41765A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45958AA8-0400-280E-AAC7-F0109563FD9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CF6013CA-7179-DB3C-FD10-B04D7704572D}"/>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BAA2B6B6-9C7D-030B-13AC-59AD61667D0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1429813F-BA5E-8F97-9797-84B30548C40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F3C2C5B3-C384-91BA-DEFE-87DB448D223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7A7EF278-51C1-17C3-14EB-B2A2D73B878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087D971A-488B-55F7-3E64-46AA9CB5BEF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EB4DF15D-D8CA-717D-2837-F6D0EC42730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ED96BFCB-67D4-08A3-2AA9-7A61DB3AD0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6AC7E2E5-5853-E638-C056-A8ADAE31098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91C9EDB7-0731-3E01-1AF7-45A94CC115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52C6589A-A8BF-E794-C906-1C5B96836E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5D6C6DAB-90E9-E532-4B2D-4588AA232F35}"/>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D5EA615B-8896-DA9D-8B41-D54C513C24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4B15FC19-2BAC-7461-5811-C661B89E88E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1D5C5581-B788-8659-FD31-0A513760A3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BB405441-CFB5-DB0A-14B3-77ACD1AE86F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8712BE65-5102-EBF6-4149-95B2193B129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FC0450AF-ACCE-2DCF-F4C4-46D555B0080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0C300EA8-CB85-65F3-AF4F-07E2600BD76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E19077EF-6F9F-04F0-CAE9-DFA7BFCEE28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37281016-9E06-4BFE-9BA2-164A5D56743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0E13DD0C-FA7D-4A7E-85BB-006D0662DA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B97672A0-A6DD-D4ED-48A5-683FA2EEE329}"/>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3396ABB0-8708-4E33-CFA8-299DB3579CD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0B553673-F471-2B60-05C8-F5B64CCDD4E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C249DDD9-15CE-E0CF-2195-90EDB949140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D3FB5946-F185-562E-E0E3-02B393F0962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D2897F1C-A337-397F-8979-E22A2D7E7C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F727DEC8-4D99-7756-1E9B-6C3C6FD4EA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146AC8E2-1575-2DB2-A2DE-0D845D0167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37CA11EA-DD7D-BC48-C5A5-BD3EF518852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4AC2C579-2401-5374-7D22-0FE2B11C11A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525D73B2-1CC4-7AE4-C0B0-E425DA6EB20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8BBC2DBB-8646-CEBF-3B35-B04AFA2088F0}"/>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FBF225B2-E395-B735-C4A0-B10FB556BE69}"/>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4C8828B6-BF74-1A6B-4FAA-E3DA889CD2F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10363F8A-5F07-3A03-5323-B18321BD9B3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E40B8913-BF27-E1E2-B301-42A635670B7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0E822361-719F-F575-4674-4495AA6E25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A038162F-305A-9D94-C182-144A5614EC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94C67803-6D25-CF22-5F6B-36D59C13002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C0EB1F02-B465-6064-783E-544449A7D13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6EF1C0D5-FB9D-39E9-D5A1-2C85217F0BB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22966F01-9E03-3B8B-C4BD-3DB947FDFAB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0B843AB8-3462-BE23-ADA8-55827313743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42819CCF-F6B0-ED66-B4E4-2569E849048B}"/>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06CA8889-3461-BF4D-6056-F03B486BF2A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3BE246AF-FD05-8B17-3528-4F69CAA468B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D9961E5B-DB21-BE0C-337D-6FA7625EB3D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D9906C19-8B1D-07C3-D8DC-D164F25F0EC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F850DA4C-0E59-8BFB-1A10-4D3ED6E77A6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73AC65F5-D685-6E42-C97A-FF0D7C2A2FA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1D8E89F9-4707-0464-AD01-289239C10D8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351CE25E-5EF8-8A60-F97A-CFDD5065B2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D835EC9E-7863-F5DF-5235-73F13795487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1EF86C23-AEA4-7143-FA1B-D57553F25EA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6FA84765-071A-4126-E330-199ECE68A925}"/>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7EACFBB2-343F-4F6B-A5EE-47E58A10F7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28C25AD6-815E-8DD0-0EA4-5FAAA16DDB9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4FB7B274-7A60-4C72-1B74-2D03FD79004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C550F469-1797-B327-5B71-F942CADDD4E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7D094D25-6086-5E3E-06C9-9B9F4070A08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B9A829E8-4C7D-B141-D80F-77CA043E47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DA3591D0-155E-AE19-3374-7658E8DE2D7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C57708C1-8D2F-EE2D-44CF-B6CF5FA2A77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AC8447E3-CA1C-F9FC-5900-DD47ED6D53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8B8DFC51-1F94-9E37-2ECC-B0FC82274EB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159C06F3-AC58-1B4D-C07D-81DCD2E45B9D}"/>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19AEBAFF-F8F9-3FEB-199F-5C5F27A3C86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A9A0FA0E-F19C-15FB-A95F-64A0A9D7DE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46388DCC-1516-5850-9241-98E81866258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C1ADCD65-2904-4B8D-E00D-48CD147B635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363F3510-B504-A4E3-0C46-A90157A06E5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9E7E4301-1AF4-B925-B801-B96724E88EC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EB1B9CF5-699A-5DEA-B8DD-8E5640A1527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F38179F2-D5C7-8B02-A9B1-189D9D28042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6BF293AD-7114-EE6C-486E-C143E9DF471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7DF29B03-E1D6-5E11-2563-24D47A398E9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607D2365-958A-8288-5E64-8DD7250E244B}"/>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BC6DB069-8EAA-9AB6-2E5D-55FA28D6E435}"/>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885832F2-1250-C728-7703-1D2A37C5AB3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F704340F-73E4-0B1E-6DFA-74F762FEB07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FED29329-6966-111A-A3AA-3F056CEF4F8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2CCDE998-886C-7043-C2A5-523B275E2C8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88688AC2-0F4A-2EF7-409C-C7FA8D5B0B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45DF3327-C357-AE17-0352-57D557DE4F2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9C987C21-018D-F366-E7EE-F8CC7FB199B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CA80671B-B575-629C-9BA2-5A8DF4E8F3B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30598001-57C4-3B00-0D34-F14F9D4BC6C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0A5D1BC3-47BF-E779-C9CF-F9B96B47408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90A84FA6-0BFA-41AD-3D2C-16A6F8258903}"/>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E7B85F9F-AEEF-E52D-F133-001028EF345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43414C90-C20A-86CC-5017-AD11D3FA1D7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235C0BBA-DFB4-869D-18E9-F263A3F2AB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F7B42156-9A76-1C51-9EAF-E20F22B344E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34B09529-F120-FA5E-AC8A-554B8456728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322FE8F3-1265-D6E0-A06E-B39772E8D1D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7ECF9D33-A43D-CC11-9C34-D0FCAE94D57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43FEA75B-6823-2567-B1ED-AAA93060CFA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4A7C9107-5F31-59CF-8C07-4446B2011F6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7DD4CE79-E7D6-7040-4537-2EFC8EFCDE8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99226AAE-CF82-3869-5565-9FB3357FC4D6}"/>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2E75DBB3-E782-2445-6E82-8A7595F31AD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8B5B5C34-A957-641F-E03A-FA21AC479D6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BCAE60FF-4039-CCA3-9902-2F9F3B9BFB3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F8260A60-45DA-E70C-BA50-F2F4B5F0019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507E8FB0-D294-C2D5-01FC-E885DDA5EA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046EA2BD-2D26-5416-4885-BEBB869CC93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5000F938-84E5-5565-DC9C-9B7FBBD7A67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365F18FF-9DCC-17CB-5ED7-21C36B1E3BA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BBAF4C05-0D51-1E64-DE08-8221D2512D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CCA041BD-0FFF-F947-F14F-76E0E51309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64C1D87D-D13E-93C7-432E-17D6954DDEF3}"/>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7C6E3A1E-BD73-9AB1-979A-54DC5D0586C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C7565907-F7DC-2250-42E1-34F9947CA19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EA5B7115-FF7D-CEC9-0DBA-24BC7707D85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EA3EEEF1-63F4-1FD3-1DB5-EFC7B81D157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3BE80B42-D79B-3B09-AAD8-330C9EFD7BF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7BDCBDDB-5270-9DE5-5996-561606AD42E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03FC6FA5-6962-B0C3-899E-5105E7B62F7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25AB26BA-DFE8-A2A2-3D44-30BD191384E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047CC64B-0271-7E05-6E61-C41ECBB7F1C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0F7738CF-65D1-A8FB-8517-E785F329EBE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4" name="Rectangle 223">
            <a:extLst>
              <a:ext uri="{FF2B5EF4-FFF2-40B4-BE49-F238E27FC236}">
                <a16:creationId xmlns:a16="http://schemas.microsoft.com/office/drawing/2014/main" id="{7CEFCE52-B69F-FB93-81DE-7115F8AB484E}"/>
              </a:ext>
            </a:extLst>
          </p:cNvPr>
          <p:cNvSpPr/>
          <p:nvPr/>
        </p:nvSpPr>
        <p:spPr>
          <a:xfrm>
            <a:off x="697797" y="196724"/>
            <a:ext cx="643394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Phase:</a:t>
            </a:r>
          </a:p>
        </p:txBody>
      </p:sp>
      <p:sp>
        <p:nvSpPr>
          <p:cNvPr id="225" name="Rectangle 224">
            <a:extLst>
              <a:ext uri="{FF2B5EF4-FFF2-40B4-BE49-F238E27FC236}">
                <a16:creationId xmlns:a16="http://schemas.microsoft.com/office/drawing/2014/main" id="{C92755CE-8AD3-E4EE-5E46-ABD1BCE9A219}"/>
              </a:ext>
            </a:extLst>
          </p:cNvPr>
          <p:cNvSpPr/>
          <p:nvPr/>
        </p:nvSpPr>
        <p:spPr>
          <a:xfrm>
            <a:off x="1109229" y="1275835"/>
            <a:ext cx="7514320" cy="2246769"/>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b="1" cap="none" spc="50" dirty="0">
                <a:ln w="9525" cmpd="sng">
                  <a:solidFill>
                    <a:schemeClr val="accent1"/>
                  </a:solidFill>
                  <a:prstDash val="solid"/>
                </a:ln>
                <a:solidFill>
                  <a:srgbClr val="70AD47">
                    <a:tint val="1000"/>
                  </a:srgbClr>
                </a:solidFill>
                <a:effectLst>
                  <a:glow rad="38100">
                    <a:schemeClr val="accent1">
                      <a:alpha val="40000"/>
                    </a:schemeClr>
                  </a:glow>
                </a:effectLst>
              </a:rPr>
              <a:t>The algorithm utilizes the expectation-maximization (EM) framework, which consists of an expectation step and a maximization step.</a:t>
            </a:r>
          </a:p>
          <a:p>
            <a:pPr marL="342900" indent="-342900">
              <a:buFont typeface="Arial" panose="020B0604020202020204" pitchFamily="34" charset="0"/>
              <a:buChar char="•"/>
            </a:pPr>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a:p>
            <a:pPr marL="342900" indent="-342900">
              <a:buFont typeface="Arial" panose="020B0604020202020204" pitchFamily="34" charset="0"/>
              <a:buChar char="•"/>
            </a:pPr>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e forward and the backward phase form the E-step of the EM algorithm, while the update phase itself is the M-step.</a:t>
            </a:r>
          </a:p>
        </p:txBody>
      </p:sp>
      <p:pic>
        <p:nvPicPr>
          <p:cNvPr id="226" name="Picture 225">
            <a:extLst>
              <a:ext uri="{FF2B5EF4-FFF2-40B4-BE49-F238E27FC236}">
                <a16:creationId xmlns:a16="http://schemas.microsoft.com/office/drawing/2014/main" id="{CCF6301E-D816-FEF5-64A3-4F63B27349A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87637" y="3596120"/>
            <a:ext cx="8034426" cy="1931707"/>
          </a:xfrm>
          <a:prstGeom prst="rect">
            <a:avLst/>
          </a:prstGeom>
        </p:spPr>
      </p:pic>
    </p:spTree>
    <p:extLst>
      <p:ext uri="{BB962C8B-B14F-4D97-AF65-F5344CB8AC3E}">
        <p14:creationId xmlns:p14="http://schemas.microsoft.com/office/powerpoint/2010/main" val="38460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651974-8F6B-34A2-1E51-794A268D786F}"/>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80359894-EA0A-E769-31F2-0C7EB759553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A1B7C455-3187-01D5-105B-EB88E05D7E8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55F6AB9A-D8D2-2CE3-12D2-32D739DA8689}"/>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2C26EE97-6021-5BA3-3908-CD51D954B3E6}"/>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6A412043-C94B-9789-3F9A-C6C79D600AD5}"/>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CBBAA9EF-0A88-9CDB-53AD-BF27F8F0AED2}"/>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18716F0E-A333-36F5-908A-904BDAA6736F}"/>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22202F45-5EB0-7F30-99E8-AE89DE9FB28D}"/>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4" name="Oval 233">
            <a:hlinkClick r:id="rId8" action="ppaction://hlinksldjump"/>
            <a:extLst>
              <a:ext uri="{FF2B5EF4-FFF2-40B4-BE49-F238E27FC236}">
                <a16:creationId xmlns:a16="http://schemas.microsoft.com/office/drawing/2014/main" id="{D84812CB-80E1-8144-1A10-F00F4A1460E6}"/>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7EA07330-856E-29B3-79A0-DC04F2817444}"/>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B88B8470-722C-28C8-8BEC-58DA9586967C}"/>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6C2CB34D-6968-F3B0-7A39-25B8882A513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545268F0-40F3-AE3B-327E-D8DEDF7EA3C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ABFA0E76-6E38-821B-3306-81A2E11C15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A0EA35F8-52A8-F0EF-F413-BFFD0EE5D7A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06689C0E-BF41-5DE0-9E5E-9E1EC9E0D5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CB480403-FD80-5FEF-B6E1-DE325CFDEBA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DC71A23F-E6E9-31C0-6D0E-BA6B981DFAB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674599B7-78F5-DCFE-4A6E-029265C5C07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7D11F728-71E0-D2FE-162E-77200615BE3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54E592AA-3958-7CDE-FDAF-E5DCCBE278B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C74DEF12-8B1B-2CDB-F32A-F30DE13AF7C9}"/>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0C34A23C-C026-5AFE-24BE-EFF12B8C7D6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A94A1F2-C260-2B4A-67A4-CD57AE3E403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D34C145C-ED74-0F67-05DE-6255B4EB179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C840B630-2E45-D819-4AB8-1FEAB0D2BC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8247E9A1-D7A1-D5E9-92FD-48EDDA29FE9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4528A7B1-9092-7CAF-E4A4-141DAF63B8F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422E6D08-0C57-F09A-886F-1138DEDA1B9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96E6AF6D-1A1B-53A0-7DA3-9AF5EBD846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CD4CBA1E-D3EC-3E30-B951-365B180EB4E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5CA8D8A5-348E-7CF9-ED8B-5F135A9F323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C318F19A-081B-1D69-90A1-383C62EB6D1F}"/>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0137271E-5F21-17B9-95C7-10D536E6926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5BC2B5A2-B719-6D17-C553-ABDB71D2791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0269F1F-6E9B-D4AF-BD17-B8585DA348E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850CA704-BEF6-214C-1DE8-0F6A0494A97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64897A16-1993-D84B-6C90-E011E10BCD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C89AC41-15BC-2EBC-1992-F06F8A2685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451EC1DB-D0E6-BA8A-6D22-0AC4E178CD3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0798A25-3925-E6D5-70A5-78AACB7AF04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E4F0500-D547-BB7B-F321-AE096B504AF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9342205-9C4F-33FF-E672-E957AADAA18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5BB845CC-9B4B-95D0-AF2E-3EC7068F73C0}"/>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5F5456ED-E5E4-EA0C-1B7C-9CE6C5B7AD2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98EE6769-8614-13D4-957D-83DB47CE673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C3BE1A4-5DD8-8799-7F32-66283763C5C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5612369-3B48-DF90-EB03-BFEB3A8E06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E74485B-7BBE-C66E-66D1-6A1FD5CC92C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3E9C2F4F-0051-2622-00AA-95B223321BA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1DA15E5-8DCA-6EAF-3AF8-57F83F1CD96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E4DB9B3-BD93-398C-DEFD-BCC3E37816F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6B4ED1-FAFA-DD2D-AE67-E7115A6F47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F6BE1961-2097-2083-9F25-883A55FB97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D33FE883-0C85-03F7-7FF2-96A667874CB6}"/>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F3241C7F-4B77-ED70-4697-F11CE919309C}"/>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15682435-00D1-9099-A0A9-582B7E007E92}"/>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F9CB0259-3FB8-4D83-EB7F-E5DD54BB237D}"/>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63BAA3E7-1EF6-BE1F-B172-665909C0A0E0}"/>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5F6961CF-44B3-DCFF-C618-3191503F0953}"/>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39243D8A-DFB6-183B-A24F-19F67928676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12C93FA5-B723-6E3B-0417-E615F8B4506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652C0DF2-5696-7E88-65A0-C115F28FA67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5952CE64-893D-9000-A1C7-965764D220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8F34ACAC-95F2-7672-C4A7-9C6CBD5EF5A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9E2103E6-7DB5-672E-00FD-42534F471D7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B6211094-F7DD-391B-BEFD-521DCA4844F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C3DBF613-931A-4126-3630-DCAA97BB222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FB060AAD-C43B-155D-9062-F9CB84DB710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F16E5C20-2B64-C091-8D15-60B644E86C6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227C3C6E-0B17-FA0D-7642-FAA7876FA704}"/>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6CA7D929-BC28-3EAB-1EFA-2ED4F93ECD2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88AA6BFA-806B-0FF4-74B1-B1B9A14A4F4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D3D7EF5C-817C-CD69-6413-A1CA7EC46F1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DCE712E7-5A15-4B14-BE1E-644E1DCBA49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942130E2-3A25-E61D-9972-73B2C3D0832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5A6145A5-8231-DB6D-A5CD-9285F6AA6B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548FAEDE-876E-8068-E541-EB4DBDBB46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46CD46CB-F974-5E58-DC2D-5D133E4FBD6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0FCE8D58-D300-15F8-231D-46966F0D440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6A06DAA9-1946-0FA0-AC79-70CEBF524BE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DA57E677-FACC-D550-00AE-7D1D6B490728}"/>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81C0049A-E046-CD89-F0CC-C6AF7A8E1F9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93403E00-69F4-6531-574C-75FC89ADC2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4607F255-C276-407F-B45B-C167415C5B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FF31F221-3962-948B-DB98-3A4CBB73159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B6731703-DDB6-2395-3390-C34B8356276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3A2B5D92-5C61-AA03-3AE7-22EC8F0D5C6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5F53D943-8D18-1D4A-DACF-8680A53AB7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5B821351-DFF5-4CA8-1FA2-F20EF8389FB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C112CF0B-2139-16E8-853E-7434A20EF70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0BF0F194-914D-1DDC-8057-61B3BB3671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622AD490-A821-1483-F9CA-CBBE967783B6}"/>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6A247AFD-3993-483D-1438-22225F2D833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ABCDF0BA-08A8-EF82-3EC8-2B62EB1C869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EC908380-091E-37B6-A75E-9408FFE9528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5E157A7E-79DC-C535-409F-CFBDBDE9311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B6A8F997-FDED-2FCC-8975-AD2378A1CC7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F3A959E2-F254-225A-66A6-10A3E07DD29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ED8A483F-E777-AC37-81DA-0959B6A4603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3E1A7871-2DE9-E259-6A47-5FF4847EBF8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6705731D-6F19-684F-A26C-7BD6D806D7D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BBA3D6D4-DCFE-F050-66A7-072F2EC2CCF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CC593E2B-D473-7665-FEA6-117D880CBFED}"/>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5B70F681-33D9-1DA1-61C7-D7E7D038A9FD}"/>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05DBBEE8-A674-86D9-1A41-06F616FCB96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7B8E7F0F-190F-9608-8811-FB9A8D94D66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571A252D-5342-8922-7E26-DBEAFC95730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122A8145-52C3-39F4-987C-A366B74FD6E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B9802F70-F3B6-F65C-17E1-B291689BB75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A4BC2BFA-38E9-AD15-295F-0366A5D0E33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177FDAB2-71BB-DBA5-7950-DD3E812C641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4AFEA564-F805-32D0-6E01-8F32CDEFC1C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C1678381-F15F-FC2A-B9DD-EAAAEE91FB0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0489975B-B876-41BA-A27A-E33B8B5C7D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B42E5209-0459-FE91-FCC8-59415C592BCA}"/>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1ED7688B-B787-9FB8-6A19-BCF13649683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E2443A11-36E0-EC84-89E3-CD52CA21D36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F6321700-FA8C-2523-13AF-C0D872B867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CD07D375-3E67-73B3-26E0-4925F91813A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DDA5FA47-7267-A7A6-9268-756BAD2F9EA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961E09C9-680A-D8AC-0DC1-F27C173758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5805562D-530F-3D83-9E4B-B75A1B93960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8B0BBDF8-9E94-4257-498B-F32C3F8CF93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CE9F1D44-5775-E87A-A92D-280934E16F7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F486F816-C274-32D9-680E-379DD888C11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0527A55C-7360-928C-1DEC-41F6DC2EFB5A}"/>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1282F04C-E74F-EA68-266D-3C988AB877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56C4A4E8-2D2A-977A-86D5-2DF716DC6CE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5210B418-5358-64B6-F278-8B4CD3C4BE5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E9DFC024-EDEC-53F3-AFC3-9E3760F3C35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E5B06A0F-88C6-683A-3BA4-94E7E496295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4E88614D-824D-8D6F-F440-DD9B03E024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8348781C-1C2D-23A0-7D1D-83D5F3D8300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D2C585F2-AA76-3D81-2F8D-CC0D49BB7ED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A9C8FF85-7F20-CB9E-3743-A0690801E5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0ED342F4-1A29-B704-567B-A95E0BA6218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4C1858CD-38FD-64CF-D33A-E424AADD8E89}"/>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E1BE015F-9985-C19D-06A5-882DCC3EC2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A0B1FB3B-817D-27C0-83A2-E6F0E04D3C3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EEC8FE3B-CD3B-86CA-5E66-157265E483D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201E627B-4510-D7B5-970A-4A6C71AFE14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0C127089-A674-D67B-DFD6-63D54D81058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E9909A44-9E33-33A6-A54C-EFEC844FCE2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FF4688A7-B8E4-A98A-9513-DCDD479BEA0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58276D50-35B3-F13B-D7D4-6806161A31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E1A20746-3DF3-4F3C-85E0-595661AF4E6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9A588045-BD4F-71AF-DC2B-DFCD08B750A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DA5BFCBF-680C-AD55-FF88-DA68B9572F96}"/>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632A87EB-CC35-56C3-3F62-730EA7DAACEA}"/>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36C1F8A5-E091-2B3B-8315-37A6078BD8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EB42C500-2134-72CF-E658-2DA17B5C75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0A705EB0-0387-3B98-9110-D424B4E8125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48E8ECB7-0D5A-E3A4-0A4B-CB211C53FC1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ED4BDEAD-D8ED-9CA8-776C-842722BB353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8C454656-5815-4D1A-1949-9C1D10742F9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20A3A349-078D-3FFA-EC0A-F19D35037A9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4DE53E6B-FA76-5054-3E13-4F05B97F895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1D7E2BD6-0A36-FC05-5068-6EB92E15699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3ECEAFE3-A57D-A152-4E60-F3FAF4BAE4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9671D284-215B-8086-68AC-568B0027AE72}"/>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879FD938-C164-E6F4-3F3C-64A9704FBE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CC4D9BF3-407A-389B-51FF-DFA02F18108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9638A2DB-4305-503A-1419-090DA96306D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7BE67A93-B993-C424-D442-63A14CDBD16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A62EF2C4-49F8-5912-AB39-12799BDA780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F6D19213-8D35-EEA2-C0E1-2538760909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C4159000-9D33-D090-99E8-E3EEE69301F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41418483-C6E2-C72C-FD68-103EE2D67D9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0810A1E2-F87F-A45C-3D8C-71736E2C2FD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9F9C225F-3BB0-28A7-61CB-44C0C4B97BC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695760D3-21EA-92E9-CB1D-79B487C4FB27}"/>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3D9F4DEC-59AE-4461-846C-4E19E0D7CC7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1A557E82-C576-1451-2A9B-9AA76A20C3B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3427851-B74B-C7B8-79E0-D62EB51B63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5AD8D822-AD0F-D3C1-7E1D-4FAEA05182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4B1A63F5-F231-FD2D-B6A1-E354AD1D8F5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92FDF4B0-D232-5811-6F6A-D669245B557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CDA9B5FD-EDA7-7D15-0D5B-67EAF37918B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81676E1A-D34B-E65A-3FD8-CD224ADEC56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0D415B10-C1C9-EAB7-6B84-7E54AD6B3E6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084650F0-9A98-F98A-37C6-406B6B10441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17C9D06A-08ED-CC9F-DB1D-838C4407A1A6}"/>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35F9B8B4-7119-BED0-C3BE-0B92E99FA40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6E36AFDC-A33B-A77B-A3F0-B32F9C8BF11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83644535-A49D-6071-C7B1-40C05D719D1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CA62536E-F145-0CEF-EBB9-8B672C10E96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875E8E9D-E928-C47B-68F6-C0F5740493A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FBEB57A8-383A-DB25-1F09-A5A4603811D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ECC615DA-CA9A-6FD6-6454-E46222F9895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DA853868-30B6-D0B4-1023-EA41528E1FE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29AA5E44-537F-847D-2EDF-0D41769F644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1A2D313-946C-2C58-CA28-DA2F0842B59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5" name="Rectangle 224">
            <a:extLst>
              <a:ext uri="{FF2B5EF4-FFF2-40B4-BE49-F238E27FC236}">
                <a16:creationId xmlns:a16="http://schemas.microsoft.com/office/drawing/2014/main" id="{BFE6A68F-466E-1E6E-2149-D5C26B75F2D2}"/>
              </a:ext>
            </a:extLst>
          </p:cNvPr>
          <p:cNvSpPr/>
          <p:nvPr/>
        </p:nvSpPr>
        <p:spPr>
          <a:xfrm>
            <a:off x="1478505" y="3167143"/>
            <a:ext cx="3608745" cy="646331"/>
          </a:xfrm>
          <a:prstGeom prst="rect">
            <a:avLst/>
          </a:prstGeom>
          <a:noFill/>
        </p:spPr>
        <p:txBody>
          <a:bodyPr wrap="none" lIns="91440" tIns="45720" rIns="91440" bIns="45720">
            <a:spAutoFit/>
          </a:bodyPr>
          <a:lstStyle/>
          <a:p>
            <a:pPr algn="ctr"/>
            <a:r>
              <a:rPr lang="en-US" sz="3600" b="1" i="1" cap="none" spc="50" dirty="0">
                <a:ln w="9525" cmpd="sng">
                  <a:solidFill>
                    <a:schemeClr val="accent1"/>
                  </a:solidFill>
                  <a:prstDash val="solid"/>
                </a:ln>
                <a:solidFill>
                  <a:srgbClr val="168DA5"/>
                </a:solidFill>
                <a:effectLst>
                  <a:glow rad="38100">
                    <a:schemeClr val="accent1">
                      <a:alpha val="40000"/>
                    </a:schemeClr>
                  </a:glow>
                </a:effectLst>
              </a:rPr>
              <a:t>Forward Phase:</a:t>
            </a:r>
          </a:p>
        </p:txBody>
      </p:sp>
      <p:pic>
        <p:nvPicPr>
          <p:cNvPr id="226" name="Picture 225">
            <a:extLst>
              <a:ext uri="{FF2B5EF4-FFF2-40B4-BE49-F238E27FC236}">
                <a16:creationId xmlns:a16="http://schemas.microsoft.com/office/drawing/2014/main" id="{35B36145-D475-FD75-DA10-B03F515C4A8C}"/>
              </a:ext>
            </a:extLst>
          </p:cNvPr>
          <p:cNvPicPr>
            <a:picLocks noChangeAspect="1"/>
          </p:cNvPicPr>
          <p:nvPr/>
        </p:nvPicPr>
        <p:blipFill>
          <a:blip r:embed="rId9">
            <a:duotone>
              <a:prstClr val="black"/>
              <a:schemeClr val="bg1">
                <a:tint val="45000"/>
                <a:satMod val="400000"/>
              </a:schemeClr>
            </a:duotone>
            <a:extLst>
              <a:ext uri="{BEBA8EAE-BF5A-486C-A8C5-ECC9F3942E4B}">
                <a14:imgProps xmlns:a14="http://schemas.microsoft.com/office/drawing/2010/main">
                  <a14:imgLayer r:embed="rId10">
                    <a14:imgEffect>
                      <a14:artisticGlowEdges/>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75480" y="4128163"/>
            <a:ext cx="6877050" cy="1323975"/>
          </a:xfrm>
          <a:prstGeom prst="rect">
            <a:avLst/>
          </a:prstGeom>
        </p:spPr>
      </p:pic>
      <p:sp>
        <p:nvSpPr>
          <p:cNvPr id="230" name="Rectangle 229">
            <a:extLst>
              <a:ext uri="{FF2B5EF4-FFF2-40B4-BE49-F238E27FC236}">
                <a16:creationId xmlns:a16="http://schemas.microsoft.com/office/drawing/2014/main" id="{76581EBC-EA82-765B-DF83-596EEAB4A99F}"/>
              </a:ext>
            </a:extLst>
          </p:cNvPr>
          <p:cNvSpPr/>
          <p:nvPr/>
        </p:nvSpPr>
        <p:spPr>
          <a:xfrm>
            <a:off x="1414587" y="1013219"/>
            <a:ext cx="3110467" cy="646331"/>
          </a:xfrm>
          <a:prstGeom prst="rect">
            <a:avLst/>
          </a:prstGeom>
          <a:noFill/>
        </p:spPr>
        <p:txBody>
          <a:bodyPr wrap="none" lIns="91440" tIns="45720" rIns="91440" bIns="45720">
            <a:spAutoFit/>
          </a:bodyPr>
          <a:lstStyle/>
          <a:p>
            <a:pPr algn="ctr"/>
            <a:r>
              <a:rPr lang="en-US" sz="3600" b="1" i="1" cap="none" spc="50" dirty="0">
                <a:ln w="9525" cmpd="sng">
                  <a:solidFill>
                    <a:schemeClr val="accent1"/>
                  </a:solidFill>
                  <a:prstDash val="solid"/>
                </a:ln>
                <a:solidFill>
                  <a:srgbClr val="168DA5"/>
                </a:solidFill>
                <a:effectLst>
                  <a:glow rad="38100">
                    <a:schemeClr val="accent1">
                      <a:alpha val="40000"/>
                    </a:schemeClr>
                  </a:glow>
                </a:effectLst>
              </a:rPr>
              <a:t>Initial Phase:</a:t>
            </a:r>
          </a:p>
        </p:txBody>
      </p:sp>
      <p:sp>
        <p:nvSpPr>
          <p:cNvPr id="231" name="Rectangle 230">
            <a:extLst>
              <a:ext uri="{FF2B5EF4-FFF2-40B4-BE49-F238E27FC236}">
                <a16:creationId xmlns:a16="http://schemas.microsoft.com/office/drawing/2014/main" id="{0DDA9A8D-0A95-B4F0-1172-8B3F3E0EECBE}"/>
              </a:ext>
            </a:extLst>
          </p:cNvPr>
          <p:cNvSpPr/>
          <p:nvPr/>
        </p:nvSpPr>
        <p:spPr>
          <a:xfrm>
            <a:off x="1478505" y="1644821"/>
            <a:ext cx="8210527" cy="1015663"/>
          </a:xfrm>
          <a:prstGeom prst="rect">
            <a:avLst/>
          </a:prstGeom>
          <a:noFill/>
        </p:spPr>
        <p:txBody>
          <a:bodyPr wrap="square" lIns="91440" tIns="45720" rIns="91440" bIns="45720">
            <a:spAutoFit/>
          </a:bodyPr>
          <a:lstStyle/>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In the initial phase, the content of the parameter matrices P, E, π₀ are initialized, and it could be done randomly if there is no prior knowledge about them.</a:t>
            </a:r>
          </a:p>
        </p:txBody>
      </p:sp>
      <p:sp>
        <p:nvSpPr>
          <p:cNvPr id="232" name="Rectangle 231">
            <a:extLst>
              <a:ext uri="{FF2B5EF4-FFF2-40B4-BE49-F238E27FC236}">
                <a16:creationId xmlns:a16="http://schemas.microsoft.com/office/drawing/2014/main" id="{FEDEA494-0B2A-F4E7-364F-B1AD66281D4C}"/>
              </a:ext>
            </a:extLst>
          </p:cNvPr>
          <p:cNvSpPr/>
          <p:nvPr/>
        </p:nvSpPr>
        <p:spPr>
          <a:xfrm>
            <a:off x="1478504" y="3668054"/>
            <a:ext cx="8210527" cy="707886"/>
          </a:xfrm>
          <a:prstGeom prst="rect">
            <a:avLst/>
          </a:prstGeom>
          <a:noFill/>
        </p:spPr>
        <p:txBody>
          <a:bodyPr wrap="square" lIns="91440" tIns="45720" rIns="91440" bIns="45720">
            <a:spAutoFit/>
          </a:bodyPr>
          <a:lstStyle/>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e algorithm computes the expected values of the hidden states given the observed data using the forward algorithm.</a:t>
            </a:r>
          </a:p>
        </p:txBody>
      </p:sp>
      <p:sp>
        <p:nvSpPr>
          <p:cNvPr id="233" name="Rectangle 232">
            <a:extLst>
              <a:ext uri="{FF2B5EF4-FFF2-40B4-BE49-F238E27FC236}">
                <a16:creationId xmlns:a16="http://schemas.microsoft.com/office/drawing/2014/main" id="{DE39C70C-2825-73FD-79E4-16F8AB2E69C6}"/>
              </a:ext>
            </a:extLst>
          </p:cNvPr>
          <p:cNvSpPr/>
          <p:nvPr/>
        </p:nvSpPr>
        <p:spPr>
          <a:xfrm>
            <a:off x="697797" y="196724"/>
            <a:ext cx="643394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Phase:</a:t>
            </a:r>
          </a:p>
        </p:txBody>
      </p:sp>
    </p:spTree>
    <p:extLst>
      <p:ext uri="{BB962C8B-B14F-4D97-AF65-F5344CB8AC3E}">
        <p14:creationId xmlns:p14="http://schemas.microsoft.com/office/powerpoint/2010/main" val="50673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13A66-B71E-9F45-E82D-ADBB830818FF}"/>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041B89C8-1A62-E3F9-904E-BE482D9808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80359894-EA0A-E769-31F2-0C7EB759553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82207D4E-27A1-F614-B025-2A21CA844905}"/>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0FE1E1D-7C72-332B-D087-821A638DA228}"/>
              </a:ext>
            </a:extLst>
          </p:cNvPr>
          <p:cNvSpPr/>
          <p:nvPr/>
        </p:nvSpPr>
        <p:spPr>
          <a:xfrm>
            <a:off x="-1" y="0"/>
            <a:ext cx="12199333"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F1740393-C86A-8955-41C6-447AD0BAE81C}"/>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1ACD9CDC-ACB6-E34F-5790-D4ADEF13FE58}"/>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974B9242-8069-E378-DA85-CB70416A4C88}"/>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82C1DDA7-34B8-BBF1-9D56-51B75E624E82}"/>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0" name="Oval 229">
            <a:hlinkClick r:id="rId8" action="ppaction://hlinksldjump"/>
            <a:extLst>
              <a:ext uri="{FF2B5EF4-FFF2-40B4-BE49-F238E27FC236}">
                <a16:creationId xmlns:a16="http://schemas.microsoft.com/office/drawing/2014/main" id="{DFDEF178-3BCE-4843-6316-F259363C91AF}"/>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B5F8BE9-DC1F-E6EC-D3BC-DA6812273715}"/>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0314E3F7-AE1F-D45C-2AA8-D52A55327953}"/>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62FFC718-688F-25C7-AFDE-BF14C723903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5F798D39-1990-19E0-F5FF-5B92D43DE5A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9F78EA41-942A-4DE6-FF19-C4242B01FD1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259644E1-CC4D-99C4-9BC4-3344AFC77AC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2EC16E73-4A08-F696-0F8B-E6B5084947F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2507378C-983E-B20E-5B07-B881FA2A5DC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1BEBF305-A4EE-7D5A-6B28-BE69CBAF7E3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69EDC50C-5645-1B7F-9203-5E308DA841F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173657BA-9001-B5B9-264F-59BDEAF3E3F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58555312-1471-83FA-6688-CCF3657CF3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D3C44583-4813-B2ED-0C1C-B1AE289F1AFC}"/>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D7E365C0-DF24-6FB8-A71F-147F751324B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BEC75724-7DAB-1543-96AD-7F1E715E2AF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16E08978-15CF-2F52-948D-65222061D2C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0B19C7B0-E439-33E3-91BC-3F2C6526A52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5532C671-EB82-3123-B5A6-1472080AF46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873E910C-CAE5-7044-FB6A-93C70F03CE3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8A54F552-CD5D-EC2D-0B8B-1A43E331D4C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873CB2F5-0AC8-F4E3-DD6A-C55D1CB23C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F29ED093-9586-66B0-FE60-8BD53830754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751F3292-5A99-EC35-44A3-6F3A1A112FF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C7CDF310-5EFA-C0C0-7F8C-E426BF34FC0A}"/>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EB8E7C4C-D66A-C625-530B-C2B733CC4A4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2211F55-5B4F-06C6-2E49-4D678B8BC3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655FDFA-5BAA-1E9B-B472-D3F5D80B192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39A69B4-503A-6E18-FEAB-1C27E90A70A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25DB5408-26A4-FBEB-EDE4-1D6265D3F52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0143A1A5-26C5-62D2-D1AE-B661753A20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B1CF279-DA2E-8C0D-347C-13E4726C3E3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3EA5BC6-999C-5553-81B2-1F142DE6D5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2F5DE63-90CB-104A-1BA4-47B5E84E2DD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DC8935D-58AF-9569-D201-D67EFBDCBBD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B7A2D26E-2E8E-8A66-4EE2-FD7A0F88FB11}"/>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47951415-A351-BD1B-CB3F-700BF56D7AF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960F529-6C52-EB63-D57D-5F83727310D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D61E09C4-C9BC-5C1A-49BB-7E17E64B43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FA2769A-2004-596A-82DE-627C2DE435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E0E8E38-5E19-7D94-976F-B47BDFA4B05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13BAB2A7-181A-4D41-D504-4DBC9E7E41B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5D1C5BD-CDB7-61CA-777E-EC5AC86BD51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43B08A0-FBDB-911B-5A26-972908637B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CA371C4-8C55-3FD1-D30F-ABB59200FC1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FF67986-80C1-3188-09D9-C7FFACC4A32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92665D6A-5ADF-2DBA-DDC5-8F63E40A893B}"/>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BD5EB1B4-90AB-E0D6-3E74-AEB7EB4101D6}"/>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00660548-4719-1B01-9929-44A68168FE7A}"/>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6FE9A2EB-A3EB-1DD2-90A4-CBB03E613609}"/>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8FE02D6D-4F78-0FE3-B632-E5C9813C465D}"/>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68C0284C-C9BA-6356-F582-F04988FBB867}"/>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69DEC047-1D71-830C-581E-5AF45655700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9E5226C9-8B20-4BB0-2F43-D947797955B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C43761A2-E2D9-C89C-56C4-54E443B86AF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82B7A6B9-7422-35BE-3700-6B3371E2B2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7E7414E8-224C-FE7D-AB3B-1B90099121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DF9D165E-D601-DC4B-060A-7282226EFA7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91FF5548-FDE0-B052-17E4-42469E13D5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0DF731F3-D824-10E8-4A03-7FC23D58DAA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3A588A8F-0D79-3F5C-8A0B-0657E7D7E49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8DA8ADD1-C924-7AD8-B455-744F376A04B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D778EE75-CB69-FA6A-B1FD-227D0B114656}"/>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BC6CEC6F-EABB-A45B-DA0B-E217551111B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B8BAF9D3-4942-E419-8D03-323774FF0DE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13E2B428-3F4D-1731-BB5D-2BF047A9B66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5D2A653B-8BE0-9460-1923-8A8BFC21F83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7383A6CC-919A-74FE-D3C4-51C8A4B1EF7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911498D9-C3D2-31DE-FDC9-BA0B0948F3E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A1B27A5A-BDFC-C626-18F6-954B47CF052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764AC69F-6FD4-B62F-77FB-F1486E4868C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67821A1F-7B29-0998-500B-BCCA7E22B4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B8B0F568-7350-2125-CC22-84A6C44EB39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BE185B8E-E86C-B8D7-58AB-BCF41739F347}"/>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55F4F5FE-CEE3-2378-A801-8354A885354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F3F6A905-FCC7-4120-B12D-1127AF869B0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7AC4C994-4C18-93BC-56BE-1A2D34D4FED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BD05D4EB-2EAB-FF7F-AB61-8765C4AA28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82333511-3216-20B4-F0B2-B19E5C54A74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7ED94CC4-509E-AFEB-F24B-9C69247A9FA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D6C3B32C-881E-0DAD-9295-F0251CFBB3D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C4D59B8B-2B51-5646-A151-6D476642AA3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2BA0D97C-BC78-5808-23ED-60DCC3E2EED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9C1ED251-9044-BD8C-523D-D4F429BC803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37C27C10-E3E6-0D5D-393E-4B85CCCEA586}"/>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8C38B35B-AA08-D332-15EE-EF7D79C6BB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F8BFE919-947D-5B76-E41F-69F6E0B546C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88FB3320-F54A-B6BD-F4BB-04DEA286D01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C7347D26-8EDD-B009-E4F8-8F1CF302018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22DA9A70-2828-6053-E9AA-E9926D2C07C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66E81D1A-8694-EE9B-2B18-26AEA8EE785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B69509A7-C3E7-310F-DE2F-CFA71340CC8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CE9855EB-10C0-F5DA-8631-CC5D85FB58C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30A3DC4D-5BFB-3320-79AE-7C2539683B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2287F79F-222F-7B7A-98C7-3A9773B8F3B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3C40A6BF-3517-897F-7830-DC7EA9B40734}"/>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CEDC4008-BFF4-D17F-B78E-CF8422B09DBC}"/>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07DE2FC1-E3D6-638A-4C25-7576BE9A5D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32D9EE22-9B0F-E192-AC33-1C5F66B3273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9DF9423E-50D4-7517-9DFE-5675C6CC795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D1996B15-8396-C280-E3C4-37BF5430990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50708544-B78E-7BDA-CD3E-E07448C2899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D8DCC415-1B60-85AD-F1E7-DE865D4675C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2A85BCBA-3007-0D3E-576E-8C455734B7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857376D5-D8B8-8374-212F-65F2F7A57CB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EDF32652-94F5-1533-1859-04CC08784F7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E8F1768D-C3C8-DBA2-1350-1D221BF614F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D7738E1F-76F3-A5E0-AE2A-FD4991479457}"/>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CB018472-E639-6D13-BF69-67F12E9F2AC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BB9B58E5-7E33-74C1-4BF8-5A60F8664E5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F0284C9F-2C53-BEE9-792F-5F980F2E42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05B0482D-74AD-B92D-D5DB-797556F5462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F9218C8E-AB03-2049-54CA-07CA551089C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6E319243-3E9A-BC77-0478-B9A72CAE879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4974F24C-1009-F978-09B4-722B28D5CA1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E020D08D-DBC1-7B78-464F-5C741CF525D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7EEC5E5E-4DDC-4D0C-4902-16E9CD81C6B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BA75F7D5-1A31-004E-1237-621105D11BB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E739DC9A-04AA-0890-D178-AAF9E8B4CB59}"/>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B4F40FED-DBE8-EE40-0CCE-A97E00B062A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1E07D729-BE2F-6565-E1EC-EEECC80AA10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D8B0696B-AB5E-631F-F43C-FC014B2002B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19678525-5475-7E86-4DB8-139A60CFEC9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8D2D932C-2B52-D676-37D5-66F52A3FF51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6F82A457-67A8-2F0C-3C57-D2DFD26083D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0BC30A5E-F190-B5B5-248E-87736D0C706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4312523B-44F2-616D-1357-64F1AA62BE7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88591180-3234-175F-EAF6-E25CDA57234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FCFF09F5-A238-CC3F-D3D6-2398277612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8E2EA7D9-9762-6C0D-8057-5298FA5ECFBE}"/>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76484FDF-B705-E5F9-A719-6792C571833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10855EE9-8EA9-978C-12DF-FB66951C265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00786181-5888-FB79-730F-72E8FAD6052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852B2611-2A26-1DF9-E299-1FDAFD053F4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E2018FD9-102B-5795-33E2-580BA672F1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E77B6078-0B8D-43FB-68F5-AA871390DDA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940F245C-D270-4E63-5429-F2F9FC87921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0527A20A-E88D-AB17-57EA-8C480EB0135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47D8B0B9-B521-1E8B-0705-D7242056CBF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1C6CB6E6-9DFD-1E1F-A967-7AA391B00C6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A16EBD39-77B7-9C8F-0BE2-F4438AE2CF19}"/>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F5A00660-9302-95EE-AFBB-AEE83812023A}"/>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DEA8837C-973D-AB54-CDB4-B01490FF806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0EDBE908-5A77-33E8-1DB8-3FB2EF06E3A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2067CC02-0963-7AD1-DDCB-328EBF466F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995B5327-39BC-CF05-ED60-35D6227D205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D89807A7-EA8E-867D-2F38-F1F3B6C6E71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241E1D1F-C787-07D0-7864-2628EF1401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2B7A865C-7C08-BAFF-075D-A15453ADA8E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109F02BB-8B43-3931-D4C6-AD15691972A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72468F1B-429E-B72F-F8F8-D22EC5260D7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67A4C1EC-83B5-37E4-3D3F-36733DE250B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71394E14-3AF9-A696-FBCF-6B40C255EAD8}"/>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19103F36-273C-AEC8-9AE3-E04C5BF6844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3342F702-62F8-CA04-3CB7-0D7AD50F7DE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2BAE6253-2FB7-CA0C-5CA2-EB3D1E994A2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98F6837D-702C-6A84-A3A9-D2DD5DE2F96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11DC1127-BE81-FF04-3117-D1B3EE645C8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CEC0069C-6544-CCF8-2C81-A69C69B1DA4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696A7D80-60EA-2A71-740C-E9037927BE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70CC3A24-1E89-41B8-637B-47D65F451DD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BE36CF50-6538-9466-166C-71BE8FCB8E1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77B48646-A5E9-1097-71E3-432A0163497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D14ADE30-1BDB-389B-4396-27C8B84231B6}"/>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77101BA2-C441-41BB-F7CE-9C0EEB35CDC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BA186BFF-9B8B-5F30-AF4F-7629BFB3BD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21D11E2C-CE2C-8EFD-DABC-90C33D7037C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C9EA48AD-2A1A-1E1C-9CE4-6EBF8753C87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390BF636-5D32-BC90-5473-DA71B094193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3468A68F-AA4F-9AC8-158F-DFBA71462B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1BEE9CEB-E752-7916-44CD-6C160A0627A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55A691BE-B89F-B6F4-58FB-26A03366E1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F9D1607C-D1AC-DDC9-CA8C-0F071C6C7B0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C8A3999A-7410-B514-4EF6-E382833175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5659079B-338A-3AFB-68E0-5D4F26B709BB}"/>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03F283FB-3B48-390D-BED5-011B933E0B2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A869B9C4-5DCF-D371-FC86-B94A2BFEC56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694AA050-1D7D-CCEB-7246-4C6D8CF617D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9F6A9350-FE26-EAEE-5CCE-98C304448B2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443E2613-7507-0F1B-9EF4-3F1B9EB61FF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C90AD681-D8F9-AB9A-BD89-A79760F6CCE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873C1F16-9365-5601-A37B-8134C308643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433F3271-D949-4C18-D0E8-AC627921E38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41D1F04A-BB95-1010-CA32-D9A5F239BB5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FC7EC0E0-16F5-83C2-15EF-8136714C78A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34" name="Rectangle 233">
            <a:extLst>
              <a:ext uri="{FF2B5EF4-FFF2-40B4-BE49-F238E27FC236}">
                <a16:creationId xmlns:a16="http://schemas.microsoft.com/office/drawing/2014/main" id="{DE0F67D6-D2C8-CA1B-7D83-506C7BBE74C3}"/>
              </a:ext>
            </a:extLst>
          </p:cNvPr>
          <p:cNvSpPr/>
          <p:nvPr/>
        </p:nvSpPr>
        <p:spPr>
          <a:xfrm>
            <a:off x="1424442" y="1017694"/>
            <a:ext cx="3950312" cy="646331"/>
          </a:xfrm>
          <a:prstGeom prst="rect">
            <a:avLst/>
          </a:prstGeom>
          <a:noFill/>
        </p:spPr>
        <p:txBody>
          <a:bodyPr wrap="none" lIns="91440" tIns="45720" rIns="91440" bIns="45720">
            <a:spAutoFit/>
          </a:bodyPr>
          <a:lstStyle/>
          <a:p>
            <a:pPr algn="ctr"/>
            <a:r>
              <a:rPr lang="en-US" sz="3600" b="1" i="1" cap="none" spc="50" dirty="0">
                <a:ln w="9525" cmpd="sng">
                  <a:solidFill>
                    <a:schemeClr val="accent1"/>
                  </a:solidFill>
                  <a:prstDash val="solid"/>
                </a:ln>
                <a:solidFill>
                  <a:srgbClr val="168DA5"/>
                </a:solidFill>
                <a:effectLst>
                  <a:glow rad="38100">
                    <a:schemeClr val="accent1">
                      <a:alpha val="40000"/>
                    </a:schemeClr>
                  </a:glow>
                </a:effectLst>
              </a:rPr>
              <a:t>Backward Phase:</a:t>
            </a:r>
          </a:p>
        </p:txBody>
      </p:sp>
      <p:sp>
        <p:nvSpPr>
          <p:cNvPr id="235" name="Rectangle 234">
            <a:extLst>
              <a:ext uri="{FF2B5EF4-FFF2-40B4-BE49-F238E27FC236}">
                <a16:creationId xmlns:a16="http://schemas.microsoft.com/office/drawing/2014/main" id="{4C4A76A8-A64F-8438-50E6-9FEFF37413FC}"/>
              </a:ext>
            </a:extLst>
          </p:cNvPr>
          <p:cNvSpPr/>
          <p:nvPr/>
        </p:nvSpPr>
        <p:spPr>
          <a:xfrm>
            <a:off x="1445790" y="3049216"/>
            <a:ext cx="3366051" cy="646331"/>
          </a:xfrm>
          <a:prstGeom prst="rect">
            <a:avLst/>
          </a:prstGeom>
          <a:noFill/>
        </p:spPr>
        <p:txBody>
          <a:bodyPr wrap="none" lIns="91440" tIns="45720" rIns="91440" bIns="45720">
            <a:spAutoFit/>
          </a:bodyPr>
          <a:lstStyle/>
          <a:p>
            <a:pPr algn="ctr"/>
            <a:r>
              <a:rPr lang="en-US" sz="3600" b="1" i="1" cap="none" spc="50" dirty="0">
                <a:ln w="9525" cmpd="sng">
                  <a:solidFill>
                    <a:schemeClr val="accent1"/>
                  </a:solidFill>
                  <a:prstDash val="solid"/>
                </a:ln>
                <a:solidFill>
                  <a:srgbClr val="168DA5"/>
                </a:solidFill>
                <a:effectLst>
                  <a:glow rad="38100">
                    <a:schemeClr val="accent1">
                      <a:alpha val="40000"/>
                    </a:schemeClr>
                  </a:glow>
                </a:effectLst>
              </a:rPr>
              <a:t>Update Phase:</a:t>
            </a:r>
          </a:p>
        </p:txBody>
      </p:sp>
      <p:sp>
        <p:nvSpPr>
          <p:cNvPr id="238" name="Rectangle 237">
            <a:extLst>
              <a:ext uri="{FF2B5EF4-FFF2-40B4-BE49-F238E27FC236}">
                <a16:creationId xmlns:a16="http://schemas.microsoft.com/office/drawing/2014/main" id="{4C373C8B-0252-F56A-2BAA-8429755FA56D}"/>
              </a:ext>
            </a:extLst>
          </p:cNvPr>
          <p:cNvSpPr/>
          <p:nvPr/>
        </p:nvSpPr>
        <p:spPr>
          <a:xfrm>
            <a:off x="1481377" y="3618156"/>
            <a:ext cx="8210527" cy="707886"/>
          </a:xfrm>
          <a:prstGeom prst="rect">
            <a:avLst/>
          </a:prstGeom>
          <a:noFill/>
        </p:spPr>
        <p:txBody>
          <a:bodyPr wrap="square" lIns="91440" tIns="45720" rIns="91440" bIns="45720">
            <a:spAutoFit/>
          </a:bodyPr>
          <a:lstStyle/>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e algorithm updates the parameters of the HMM based on the expected values computed in the expectation step.</a:t>
            </a:r>
          </a:p>
        </p:txBody>
      </p:sp>
      <p:sp>
        <p:nvSpPr>
          <p:cNvPr id="239" name="Rectangle 238">
            <a:extLst>
              <a:ext uri="{FF2B5EF4-FFF2-40B4-BE49-F238E27FC236}">
                <a16:creationId xmlns:a16="http://schemas.microsoft.com/office/drawing/2014/main" id="{1C0FC369-055A-31DE-4D12-49E44BB5FF96}"/>
              </a:ext>
            </a:extLst>
          </p:cNvPr>
          <p:cNvSpPr/>
          <p:nvPr/>
        </p:nvSpPr>
        <p:spPr>
          <a:xfrm>
            <a:off x="1466023" y="1645802"/>
            <a:ext cx="8210527" cy="707886"/>
          </a:xfrm>
          <a:prstGeom prst="rect">
            <a:avLst/>
          </a:prstGeom>
          <a:noFill/>
        </p:spPr>
        <p:txBody>
          <a:bodyPr wrap="square" lIns="91440" tIns="45720" rIns="91440" bIns="45720">
            <a:spAutoFit/>
          </a:bodyPr>
          <a:lstStyle/>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e algorithm computes the expected values of the hidden states given the observed data using the backward algorithm.</a:t>
            </a:r>
          </a:p>
        </p:txBody>
      </p:sp>
      <p:pic>
        <p:nvPicPr>
          <p:cNvPr id="240" name="Picture 239">
            <a:extLst>
              <a:ext uri="{FF2B5EF4-FFF2-40B4-BE49-F238E27FC236}">
                <a16:creationId xmlns:a16="http://schemas.microsoft.com/office/drawing/2014/main" id="{CA8233B1-7807-DF29-C7CC-C31F705D87A1}"/>
              </a:ext>
            </a:extLst>
          </p:cNvPr>
          <p:cNvPicPr>
            <a:picLocks noChangeAspect="1"/>
          </p:cNvPicPr>
          <p:nvPr/>
        </p:nvPicPr>
        <p:blipFill>
          <a:blip r:embed="rId9">
            <a:duotone>
              <a:prstClr val="black"/>
              <a:schemeClr val="bg1">
                <a:tint val="45000"/>
                <a:satMod val="400000"/>
              </a:schemeClr>
            </a:duotone>
            <a:extLst>
              <a:ext uri="{BEBA8EAE-BF5A-486C-A8C5-ECC9F3942E4B}">
                <a14:imgProps xmlns:a14="http://schemas.microsoft.com/office/drawing/2010/main">
                  <a14:imgLayer r:embed="rId10">
                    <a14:imgEffect>
                      <a14:artisticGlowEdges/>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928364" y="2279448"/>
            <a:ext cx="6657975" cy="895350"/>
          </a:xfrm>
          <a:prstGeom prst="rect">
            <a:avLst/>
          </a:prstGeom>
        </p:spPr>
      </p:pic>
      <p:pic>
        <p:nvPicPr>
          <p:cNvPr id="241" name="Picture 240">
            <a:extLst>
              <a:ext uri="{FF2B5EF4-FFF2-40B4-BE49-F238E27FC236}">
                <a16:creationId xmlns:a16="http://schemas.microsoft.com/office/drawing/2014/main" id="{19E43B6B-EDFC-86FA-F4DE-AB5A51B3903E}"/>
              </a:ext>
            </a:extLst>
          </p:cNvPr>
          <p:cNvPicPr>
            <a:picLocks noChangeAspect="1"/>
          </p:cNvPicPr>
          <p:nvPr/>
        </p:nvPicPr>
        <p:blipFill rotWithShape="1">
          <a:blip r:embed="rId11">
            <a:duotone>
              <a:prstClr val="black"/>
              <a:schemeClr val="bg1">
                <a:tint val="45000"/>
                <a:satMod val="400000"/>
              </a:schemeClr>
            </a:duotone>
            <a:extLst>
              <a:ext uri="{BEBA8EAE-BF5A-486C-A8C5-ECC9F3942E4B}">
                <a14:imgProps xmlns:a14="http://schemas.microsoft.com/office/drawing/2010/main">
                  <a14:imgLayer r:embed="rId12">
                    <a14:imgEffect>
                      <a14:artisticGlowEdges/>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b="65066"/>
          <a:stretch/>
        </p:blipFill>
        <p:spPr>
          <a:xfrm>
            <a:off x="1578560" y="4158716"/>
            <a:ext cx="7248525" cy="1091414"/>
          </a:xfrm>
          <a:prstGeom prst="rect">
            <a:avLst/>
          </a:prstGeom>
        </p:spPr>
      </p:pic>
      <p:pic>
        <p:nvPicPr>
          <p:cNvPr id="242" name="Picture 241">
            <a:extLst>
              <a:ext uri="{FF2B5EF4-FFF2-40B4-BE49-F238E27FC236}">
                <a16:creationId xmlns:a16="http://schemas.microsoft.com/office/drawing/2014/main" id="{D2BB52DE-01D5-962A-AB70-1E2759B8D224}"/>
              </a:ext>
            </a:extLst>
          </p:cNvPr>
          <p:cNvPicPr>
            <a:picLocks noChangeAspect="1"/>
          </p:cNvPicPr>
          <p:nvPr/>
        </p:nvPicPr>
        <p:blipFill rotWithShape="1">
          <a:blip r:embed="rId11">
            <a:duotone>
              <a:prstClr val="black"/>
              <a:schemeClr val="bg1">
                <a:tint val="45000"/>
                <a:satMod val="400000"/>
              </a:schemeClr>
            </a:duotone>
            <a:extLst>
              <a:ext uri="{BEBA8EAE-BF5A-486C-A8C5-ECC9F3942E4B}">
                <a14:imgProps xmlns:a14="http://schemas.microsoft.com/office/drawing/2010/main">
                  <a14:imgLayer r:embed="rId12">
                    <a14:imgEffect>
                      <a14:artisticGlowEdges/>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t="52047"/>
          <a:stretch/>
        </p:blipFill>
        <p:spPr>
          <a:xfrm>
            <a:off x="2891186" y="5275356"/>
            <a:ext cx="7248525" cy="1498144"/>
          </a:xfrm>
          <a:prstGeom prst="rect">
            <a:avLst/>
          </a:prstGeom>
        </p:spPr>
      </p:pic>
      <p:sp>
        <p:nvSpPr>
          <p:cNvPr id="224" name="Rectangle 223">
            <a:extLst>
              <a:ext uri="{FF2B5EF4-FFF2-40B4-BE49-F238E27FC236}">
                <a16:creationId xmlns:a16="http://schemas.microsoft.com/office/drawing/2014/main" id="{25106491-51D0-3F63-0CC7-3AA63B9DB7BC}"/>
              </a:ext>
            </a:extLst>
          </p:cNvPr>
          <p:cNvSpPr/>
          <p:nvPr/>
        </p:nvSpPr>
        <p:spPr>
          <a:xfrm>
            <a:off x="697797" y="196724"/>
            <a:ext cx="643394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Phase:</a:t>
            </a:r>
          </a:p>
        </p:txBody>
      </p:sp>
    </p:spTree>
    <p:extLst>
      <p:ext uri="{BB962C8B-B14F-4D97-AF65-F5344CB8AC3E}">
        <p14:creationId xmlns:p14="http://schemas.microsoft.com/office/powerpoint/2010/main" val="302780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23416-6D89-7872-4C2D-7D39B60EF082}"/>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FBC6CA8D-CB97-041A-7B9F-080152E448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041B89C8-1A62-E3F9-904E-BE482D9808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BFA01B80-51B6-7916-B5C3-90515BAC6024}"/>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56CEF9F1-2082-F1C1-F320-AA54E6CFE34E}"/>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6AA54DE2-1509-4578-908D-83EF5CD88A08}"/>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303DBBF2-D8E1-8360-F3E9-FD5504145CDA}"/>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BB3A76E8-E293-955E-5FB4-F9F58077801B}"/>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FB69546E-C630-2937-4BCE-6BEE59782764}"/>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5" name="Oval 234">
            <a:hlinkClick r:id="rId8" action="ppaction://hlinksldjump"/>
            <a:extLst>
              <a:ext uri="{FF2B5EF4-FFF2-40B4-BE49-F238E27FC236}">
                <a16:creationId xmlns:a16="http://schemas.microsoft.com/office/drawing/2014/main" id="{A42BC887-1E5A-D48C-04C6-1EF3430B5788}"/>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85320828-37F3-2730-F642-7822FA8CBF96}"/>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6FD9D346-68F2-5846-CDA2-8FB5ECAAB8DB}"/>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2AC8CCBD-FFEF-1136-9486-857836E2BFE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D523C4CA-F7E7-19F6-882E-6C58C0C2D9C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07EA2E33-1E28-FF85-AF73-2403F5EE54F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23480EBC-7EFB-5691-16C6-013663809DA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E27E0752-4508-1C23-1C57-07279FDBCBF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D34CF2FE-4540-5D89-756E-2C6A558247A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574D5D71-7B88-E2EE-883A-2C93CC2EEEE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9F31125C-C8CC-A144-CA79-0C3A175C25B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1B1F7F65-2DDF-3C38-C214-02C983E041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4EAFABEC-A1CE-7D4F-0287-692A9F204F9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3C8ED0CC-29FF-9E07-EA99-5BCAC26D53A2}"/>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A96E66EA-25D9-4C52-9499-CB4267CDDBD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C27DEC6F-412F-4234-70A9-4B22896463B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1D38ADBD-97CF-83DF-C3D5-B78E36C0A8A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21E9640A-28FE-9B78-715A-110E98EC359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D23511BF-FED7-0265-8E52-8280EBED068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2F0DCA6B-BC97-9C7D-4864-8DCAF841FA6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520AC029-C4F0-8ABE-9760-1280B3E52CD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DBF9448C-D630-9D9E-1E6D-486806AA4CB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88D922F5-F3C2-913C-1900-1290EBB5AD9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975601A0-95D1-05D6-CC1C-A1248A04F8E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E7576986-2151-09B1-11E6-D8252F8FB840}"/>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8A93F800-6E72-030C-2B4C-3FDA980429B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6F10A09A-754B-FCE7-A66F-065F91299FE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FA36A1A-53A3-3B70-E224-A49A28C7811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E8BA6703-9B01-7029-4544-E3A39CCB22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3E72DA33-57DE-DB3F-0FC8-57BEF09B73A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1F97DAB9-F4AC-0636-B6A1-F3DDCC54E6E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C5472305-E610-5984-7775-664E3E0E9EB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3158EC8-9BE0-0059-AC5F-F966B62F5FA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D0F2598D-1903-0D22-A203-EC0E42EECBA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8F8DBFCB-F48B-7334-D7EC-CD51C6658B6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A723DDB3-4BE6-BF78-820D-C6358644C4F2}"/>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7C0EE6F1-A1D7-6AF2-6018-0C6DB477AAD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60FDE47-DB53-D039-6919-5E8D2C742BD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E7A90D6-BBF6-4C99-48E1-B03DE4AAFFA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2AF57429-862C-78F4-BB4C-A042E5CCED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81E03E7-A588-C343-440C-62B6866E9C9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0F4FF115-17E2-A3B5-44E4-BDDB67224F4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0BE09690-3234-27A4-6461-642A99B6403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D9F2F623-D50E-2358-6EEB-223B9775F77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B874ABA-1ED3-0617-50AB-DD83790D76A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167649E-8499-23FA-65FB-C94FEA5933E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C971D3D0-57E9-BD79-5836-AA4121159764}"/>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7BD5B3B2-7A62-CAF3-ACCA-18BD19B36E5A}"/>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CE621FE4-3FCA-CAC9-6B4C-5092DA0AB50D}"/>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D1A325D7-D6A7-9F06-2F80-C8272CF109C9}"/>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8527D70D-E6CD-F37A-B913-20DC397752DD}"/>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09B64EFD-8072-8D37-C8E3-E1D551788843}"/>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93F0FDE0-AEEF-BDE9-F5B1-C19F922B12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406A85D7-DAE6-67CD-0D6F-510F5A47455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59355019-0261-D678-E89D-0AB4060EE4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7230ABA0-EE41-FB02-6F8D-964BF964B0F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8AE8A022-8BD5-AAE4-619B-3ECC346F4C2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E168E502-1262-8764-505D-9A01641A518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28F6F49E-01E0-9122-EE52-01A432B6639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7BEFCFD3-A915-225B-EE58-6734EEFEFBC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175C9A71-30F3-B664-2994-E911CA5FA12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F1323E8A-A34F-11A4-FF4D-D35A14FB144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5E03AD21-ED85-98BC-EC3B-AA59F5FDE39A}"/>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57CB8EAC-6761-DEBE-D3F5-1B092246D91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450D58F5-8584-FD5D-B5FE-C0A6084811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11FE7A35-0312-F3BF-BDE8-EDFEECE8DF6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2D196AB5-0FE9-74E0-E4DE-6BA253A5215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28246311-DB25-2966-752A-00FB1B721EC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DFA15A25-7ECD-01E2-47B1-B70D40CDC00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DECE3C9C-E4D8-5D1D-438B-C2B9119E2F2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ECF35336-80A3-F7DC-2C34-3E6307CF7FB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9606E246-3337-50E5-8734-0E8EEB695EA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6BD8AA33-4DBB-A2AD-9F39-012EF2AA83A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1A00B61-1468-B82B-B980-7BAB4FB35BC6}"/>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47D8AA6B-514E-8E7E-131E-0C73D9A46FA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4466531C-B57B-DA5A-0A61-35412E485DD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A7C6BA23-84A3-FDEE-E306-4A81A5369B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A006784D-0143-8780-8C95-5634D447A95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B7D0793C-A85F-8400-4321-E5958C65755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311492B5-52EC-FD01-0D94-09EA71B20AF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590C1701-7756-DB52-3C1C-B02D00F2F8E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3E5F3082-0317-FF24-FAD4-FFC2FC166D1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03D00D96-B63B-1A5B-3488-0730F31A8AA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DE9D6CDC-5C22-0B8D-89BD-F90FE342757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81E4501E-0417-B7A7-8576-F3ECEA41B17E}"/>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1E73AEFF-B788-2EAC-3B95-311811CB48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2CF4DB4A-B935-83D4-61EC-F35AE9A80BF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70D92AF2-3449-038A-AB8A-363FE6DFCDD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8834B01A-FC1F-82C3-3DFE-7B615CBEBC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A088DDB1-2C75-C4B4-697A-194A1D16B0D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E5118032-F397-3F63-9A3D-046CCE5C122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C6245557-5F7C-C71F-F2A1-8A4B88A850D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E623D013-A9BD-B842-D5F3-83000A2B941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EECAF719-9941-76ED-C1ED-4A7C6116721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772F8301-5A22-7882-4150-5C06FA71F4D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DBA32585-7BD0-31DA-37D0-6D2853E67154}"/>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FC72BB39-477C-F993-A9E7-0C02DF896C14}"/>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A825EACB-C6E4-F83F-CF9D-CD8415A67D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931700BA-B514-84A0-E126-919D147A59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FF0AFD22-09B8-FF5F-7715-580551B6A4F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2F61C9CC-2272-A7CC-7A21-2E515DE556D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48C3B98F-C9D6-E7CD-C0D4-61390876824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FA95183C-A9B7-F52E-04E3-DDB2F1D4FAA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934D28E6-069C-1491-7DFC-1FA7EF0250E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DBB38F22-2C20-30C3-FFB4-8D2A032A91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C8505BA3-12C3-769D-3773-A65A67346CB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F472F3E3-5C20-A447-918D-E021F29BF5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ED6C2347-11BF-F952-3097-CA9C2260611D}"/>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818FA75F-3DAE-2ADB-24AC-C09EC089892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BA1A769F-6029-51C1-8608-B560EB43C3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D4927A3D-7D09-609A-FF24-1E6F7C6E3CE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154690D2-9EB3-F196-9A97-0C635B355A4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53F94062-EA60-7A93-F3EA-7296868941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F65D109B-D102-2741-1646-C70ABDC8DC3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E36461FD-6A0E-E42F-B555-1D769FDA69C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E3A601BA-D1D1-1E0A-D9E9-214B8728002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6B06F212-65DE-F828-ED80-F8874B331F1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AA306294-EA94-7D31-2BB3-E8C29D808D9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26109817-8F9C-C7E7-6FE5-88C7B86B4065}"/>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E42FA27E-C299-77C6-18A0-9E239A206AE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D18C7412-AFF1-93C0-E60F-1904F054AC0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6D26FE75-C677-FDAE-F4A7-E10A03BDB07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71EBE2F5-9815-5147-670F-6FAFAE86339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E924B161-46A1-E306-72C3-ED25BD58570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C0C9FF07-083F-35C6-862F-906A5935107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3424DA8D-02FA-B494-3593-C517EFC3ADF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C70E1CCB-6270-BBFD-17FA-D023027A186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A05930BA-968F-5820-38C0-98401F23DE4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3897EBD9-1107-07B1-0896-BCA9EB17CE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0471EF94-19B5-A9E4-0449-A4703B805525}"/>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D531EC3E-C260-FA68-0668-9687B008D46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1A95F426-1550-64C2-1EA6-B2C15E64064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8713DFA4-CF24-67D6-C371-1D592E18627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41CFB6D0-25B9-CCB1-8AC7-D3EE716B406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6F5C951E-877A-7AA1-46E5-C1374B188D3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488A1350-40E8-954D-463E-E3F463C3038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E7E49EFB-B45D-6078-500E-C3E6175A0C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1E0AB35C-98C5-237A-DA66-969356849B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27DF510C-CE6B-0D8A-C45A-B1E55EC0A64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2B3FD626-6682-4C04-EE74-41237C9B731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F2EADE3C-84E8-3B69-3385-AC7F7B82F924}"/>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8EAE1478-531C-3540-DACE-A64245990A10}"/>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8AA8FD14-DF97-A72B-EC86-F7B929736FC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112729F7-9555-F34B-9DD9-00785BB996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F504508D-1DD9-CE1C-5B15-99CFCCCAED3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6FC7A3A1-27F6-01A6-FB2F-D01120B8DF4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1C466555-7293-087A-8B6F-7E89F702F2F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C37F168D-FB40-5C37-599A-C31A89CCC7A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3F17233A-226E-AF66-B94C-CEE5B8DFB94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2C27EE87-4A4F-B63E-D49D-2D51B4CAB19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7A7BC65B-BD89-42FA-9CE1-68D503FF33D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B5D98156-3FF3-53B6-552C-A72D2EAFC5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86A7685A-BC3F-F535-4CBF-8C242811BD0A}"/>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3046C9C8-27CE-DB9B-874C-39E34C83E6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6B80E3AE-F3DF-F170-DCD5-4E0327A401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99695F47-EF6C-6810-928B-3FA674883D0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CFFA4541-84C4-873E-18D5-82BA722E0CC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040AF936-E7F2-9978-BADD-A7E81475752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4C14206D-322F-B6F5-41EA-8AA02BC089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F5DC186D-7B35-0D6B-3062-5B666128B76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27D90BC4-F0B2-E21F-E89C-A0F1C896E30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F6C82882-E379-CCDF-FE11-4F03FBCE31F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F15388C4-1035-1DE5-325F-469088E0D6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18FDC4C4-A379-59F0-7A1D-53A6D87089E6}"/>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8D2D05DD-626B-7B66-DF1C-CE7B6D89FE0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A523239D-6CE1-2389-9D81-5B653FA43FC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4E73678-87A2-ADF8-DB1C-04A875779F4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93C699F3-BC98-8D57-D5AD-9FCAC6DDDDA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F28B4DF0-1683-5223-4F94-538B245985F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0D370AC7-04C7-377A-8EC6-BB8FEA85C69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66B9D987-2BC5-19E9-DCF1-E7FA7007053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4F96B79A-CF0C-E7B7-3E9B-B3DD7B3EA6F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427BD38B-9812-9405-B3EA-D8088D58AA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C589CC98-BD96-1572-3BAF-F4E08FD5D4A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151D5F6C-1AA9-2DEB-D998-F7D7ADB30AE5}"/>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E3EF2D4A-A158-7BA7-E9E3-B14520D8B8A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BE27DADC-9325-980C-DF69-E57B9F66B06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49F8A474-8F1C-69EE-E159-AB2DD3790FC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4ADC4FAE-42A8-F48B-6342-ADAE4F219AD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34572293-7084-9297-43AC-6A8708DE891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22057DC2-3CFA-05ED-80E8-3AF9744A2DF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2F4ADE1A-172B-58EB-3E8B-7AA250E914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546EFB1C-44AC-15EB-1B41-2DE45CAE911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C723E1D6-D725-09BF-7327-A1F995F9F39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D909666B-F0E0-3ECB-A7E0-374F3286AE0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5" name="Rectangle 224">
            <a:extLst>
              <a:ext uri="{FF2B5EF4-FFF2-40B4-BE49-F238E27FC236}">
                <a16:creationId xmlns:a16="http://schemas.microsoft.com/office/drawing/2014/main" id="{C1E74E8E-0B16-8D91-234D-122CA89FA490}"/>
              </a:ext>
            </a:extLst>
          </p:cNvPr>
          <p:cNvSpPr/>
          <p:nvPr/>
        </p:nvSpPr>
        <p:spPr>
          <a:xfrm>
            <a:off x="1338338" y="1015499"/>
            <a:ext cx="6074355" cy="646331"/>
          </a:xfrm>
          <a:prstGeom prst="rect">
            <a:avLst/>
          </a:prstGeom>
          <a:noFill/>
        </p:spPr>
        <p:txBody>
          <a:bodyPr wrap="none" lIns="91440" tIns="45720" rIns="91440" bIns="45720">
            <a:spAutoFit/>
          </a:bodyPr>
          <a:lstStyle/>
          <a:p>
            <a:pPr algn="ctr"/>
            <a:r>
              <a:rPr lang="en-US" sz="3600" b="1" i="1" spc="50" dirty="0">
                <a:ln w="9525" cmpd="sng">
                  <a:solidFill>
                    <a:schemeClr val="accent1"/>
                  </a:solidFill>
                  <a:prstDash val="solid"/>
                </a:ln>
                <a:solidFill>
                  <a:srgbClr val="168DA5"/>
                </a:solidFill>
                <a:effectLst>
                  <a:glow rad="38100">
                    <a:schemeClr val="accent1">
                      <a:alpha val="40000"/>
                    </a:schemeClr>
                  </a:glow>
                </a:effectLst>
              </a:rPr>
              <a:t>Repeat until Convergence</a:t>
            </a:r>
            <a:r>
              <a:rPr lang="en-US" sz="3600" b="1" i="1" cap="none" spc="50" dirty="0">
                <a:ln w="9525" cmpd="sng">
                  <a:solidFill>
                    <a:schemeClr val="accent1"/>
                  </a:solidFill>
                  <a:prstDash val="solid"/>
                </a:ln>
                <a:solidFill>
                  <a:srgbClr val="168DA5"/>
                </a:solidFill>
                <a:effectLst>
                  <a:glow rad="38100">
                    <a:schemeClr val="accent1">
                      <a:alpha val="40000"/>
                    </a:schemeClr>
                  </a:glow>
                </a:effectLst>
              </a:rPr>
              <a:t>:</a:t>
            </a:r>
          </a:p>
        </p:txBody>
      </p:sp>
      <p:sp>
        <p:nvSpPr>
          <p:cNvPr id="226" name="Rectangle 225">
            <a:extLst>
              <a:ext uri="{FF2B5EF4-FFF2-40B4-BE49-F238E27FC236}">
                <a16:creationId xmlns:a16="http://schemas.microsoft.com/office/drawing/2014/main" id="{54CE4F57-26E0-A256-F148-E460FF7A9EAD}"/>
              </a:ext>
            </a:extLst>
          </p:cNvPr>
          <p:cNvSpPr/>
          <p:nvPr/>
        </p:nvSpPr>
        <p:spPr>
          <a:xfrm>
            <a:off x="1542481" y="1688006"/>
            <a:ext cx="8210527" cy="2246769"/>
          </a:xfrm>
          <a:prstGeom prst="rect">
            <a:avLst/>
          </a:prstGeom>
          <a:noFill/>
        </p:spPr>
        <p:txBody>
          <a:bodyPr wrap="square" lIns="91440" tIns="45720" rIns="91440" bIns="45720">
            <a:spAutoFit/>
          </a:bodyPr>
          <a:lstStyle/>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e Baum-Welch algorithm repeats the expectation and maximization steps iteratively until convergence, where the parameters of the HMM no longer change significantly or the maximum number of iterations is reached.</a:t>
            </a:r>
          </a:p>
          <a:p>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a:p>
            <a:r>
              <a:rPr lang="en-US" sz="2000" b="1" spc="50" dirty="0">
                <a:ln w="9525" cmpd="sng">
                  <a:solidFill>
                    <a:schemeClr val="accent1"/>
                  </a:solidFill>
                  <a:prstDash val="solid"/>
                </a:ln>
                <a:solidFill>
                  <a:srgbClr val="70AD47">
                    <a:tint val="1000"/>
                  </a:srgbClr>
                </a:solidFill>
                <a:effectLst>
                  <a:glow rad="38100">
                    <a:schemeClr val="accent1">
                      <a:alpha val="40000"/>
                    </a:schemeClr>
                  </a:glow>
                </a:effectLst>
              </a:rPr>
              <a:t>This makes it a powerful tool for training HMMs without requiring labeled training data.</a:t>
            </a:r>
          </a:p>
        </p:txBody>
      </p:sp>
      <p:pic>
        <p:nvPicPr>
          <p:cNvPr id="232" name="Picture 231">
            <a:extLst>
              <a:ext uri="{FF2B5EF4-FFF2-40B4-BE49-F238E27FC236}">
                <a16:creationId xmlns:a16="http://schemas.microsoft.com/office/drawing/2014/main" id="{1ABFBEDF-8CF3-4921-25CE-4DC6FA59FE2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88151" y="3899348"/>
            <a:ext cx="2643106" cy="2643106"/>
          </a:xfrm>
          <a:prstGeom prst="rect">
            <a:avLst/>
          </a:prstGeom>
        </p:spPr>
      </p:pic>
      <p:sp>
        <p:nvSpPr>
          <p:cNvPr id="233" name="Rectangle 232">
            <a:extLst>
              <a:ext uri="{FF2B5EF4-FFF2-40B4-BE49-F238E27FC236}">
                <a16:creationId xmlns:a16="http://schemas.microsoft.com/office/drawing/2014/main" id="{355DED15-01C8-5212-0C97-AEF398F40D43}"/>
              </a:ext>
            </a:extLst>
          </p:cNvPr>
          <p:cNvSpPr/>
          <p:nvPr/>
        </p:nvSpPr>
        <p:spPr>
          <a:xfrm>
            <a:off x="697797" y="196724"/>
            <a:ext cx="643394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Phase:</a:t>
            </a:r>
          </a:p>
        </p:txBody>
      </p:sp>
    </p:spTree>
    <p:extLst>
      <p:ext uri="{BB962C8B-B14F-4D97-AF65-F5344CB8AC3E}">
        <p14:creationId xmlns:p14="http://schemas.microsoft.com/office/powerpoint/2010/main" val="403629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 fill="hold"/>
                                        <p:tgtEl>
                                          <p:spTgt spid="2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8EC9C-25CA-8704-1FC9-F136D5F37D67}"/>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5673E00C-E279-71F1-A77B-966C7D5C81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FBC6CA8D-CB97-041A-7B9F-080152E4487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3C3B5A5C-78CF-EB7C-4675-35A0744588E8}"/>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F7360C72-AD99-D469-BC82-A78353CCAA55}"/>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3" name="Oval 232">
            <a:hlinkClick r:id="rId7" action="ppaction://hlinksldjump"/>
            <a:extLst>
              <a:ext uri="{FF2B5EF4-FFF2-40B4-BE49-F238E27FC236}">
                <a16:creationId xmlns:a16="http://schemas.microsoft.com/office/drawing/2014/main" id="{983744C9-2744-EFE7-E20D-CFFADC0DBFFC}"/>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6" name="Picture 225">
            <a:extLst>
              <a:ext uri="{FF2B5EF4-FFF2-40B4-BE49-F238E27FC236}">
                <a16:creationId xmlns:a16="http://schemas.microsoft.com/office/drawing/2014/main" id="{1C3A9EB5-68B0-7B83-8F2D-ADADA9FDE11D}"/>
              </a:ext>
            </a:extLst>
          </p:cNvPr>
          <p:cNvPicPr>
            <a:picLocks noChangeAspect="1"/>
          </p:cNvPicPr>
          <p:nvPr/>
        </p:nvPicPr>
        <p:blipFill rotWithShape="1">
          <a:blip r:embed="rId8">
            <a:extLst>
              <a:ext uri="{28A0092B-C50C-407E-A947-70E740481C1C}">
                <a14:useLocalDpi xmlns:a14="http://schemas.microsoft.com/office/drawing/2010/main" val="0"/>
              </a:ext>
            </a:extLst>
          </a:blip>
          <a:srcRect l="12976" b="9603"/>
          <a:stretch/>
        </p:blipFill>
        <p:spPr>
          <a:xfrm>
            <a:off x="2211633" y="1153755"/>
            <a:ext cx="4197828" cy="5261371"/>
          </a:xfrm>
          <a:prstGeom prst="rect">
            <a:avLst/>
          </a:prstGeom>
        </p:spPr>
      </p:pic>
      <p:sp>
        <p:nvSpPr>
          <p:cNvPr id="198" name="Freeform 124">
            <a:extLst>
              <a:ext uri="{FF2B5EF4-FFF2-40B4-BE49-F238E27FC236}">
                <a16:creationId xmlns:a16="http://schemas.microsoft.com/office/drawing/2014/main" id="{326903E4-3CCB-D948-B850-BC1D18207D50}"/>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7FBD7A1D-92B0-B332-7477-695FCBBB939E}"/>
              </a:ext>
            </a:extLst>
          </p:cNvPr>
          <p:cNvSpPr/>
          <p:nvPr/>
        </p:nvSpPr>
        <p:spPr>
          <a:xfrm flipH="1">
            <a:off x="10879772" y="5561337"/>
            <a:ext cx="965864" cy="965864"/>
          </a:xfrm>
          <a:prstGeom prst="ellipse">
            <a:avLst/>
          </a:prstGeom>
          <a:blipFill>
            <a:blip r:embed="rId9"/>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2CE4A31F-659A-2ABD-0AB4-7A0AFE233038}"/>
              </a:ext>
            </a:extLst>
          </p:cNvPr>
          <p:cNvSpPr/>
          <p:nvPr/>
        </p:nvSpPr>
        <p:spPr>
          <a:xfrm flipV="1">
            <a:off x="10259352" y="4957602"/>
            <a:ext cx="422118" cy="422118"/>
          </a:xfrm>
          <a:prstGeom prst="ellipse">
            <a:avLst/>
          </a:prstGeom>
          <a:blipFill>
            <a:blip r:embed="rId9"/>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90B9FC1C-36D1-F629-F5C1-494E063D7615}"/>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3BFC52E5-B0DA-85BC-246F-DF100A796325}"/>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D3A4233B-DA1C-C218-7F8D-B40A43A097BE}"/>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B04E34C9-AE06-C036-A5B1-EEDDBF93FC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31DF3ED2-0633-F7D8-AA71-4BCA419F836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1C9E1EA1-A850-4AA8-D0E8-6E0CE1EAE2E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CA8F5874-85EE-BC38-57FE-52470E0AAE0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D52AE7B0-0994-3B75-88D7-D1C84F9597B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EEC53B9F-1BD1-018E-D0EE-8017E2E9894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87764035-BDB2-B808-A54B-63D247E61CF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A901EA93-1246-3BCB-FB28-6F1CF2CD63D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48E5D7B1-71CA-49DD-B7B0-63BF3342EA2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6111886C-54A3-E352-87F1-6E2424EAA2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0EDBA039-637F-B8A2-FAD2-10B1B6C84844}"/>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0423FF49-5AFE-D727-8CCF-DB96481552D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2A2ADEE4-18D8-A2BB-4F53-0B6974A6CF3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2F211258-9756-EF23-432C-AF6901BF2B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BEFF1C80-370E-0439-BCC6-82D773465C0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FFA9720E-D5D5-B87D-0358-3E175D9A69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EABBFD2E-E8C7-CDCC-89DF-7567A8DB079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7E633BA5-E309-2D08-8B78-307A5A10763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831D1724-BEB1-96F8-54BC-8E617E8576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E2ABBAE4-AE8E-9617-4662-9EE215E8328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3E38D9C4-86F8-2D8F-7421-23DCD74B03F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F16C3843-B13D-5240-0E47-FD33FF962D33}"/>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5230CD70-BE75-D4CD-9D9C-5282BA269A9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D3231C2-5D5D-E902-F89A-43CD8BEC27F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7F64092F-2DDE-355C-A4FB-BD184582E25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45856EF9-3209-2A25-2B99-BD063D793B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DD0454CE-6484-3344-0EC1-8AB92020E63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FAF3D5C-B323-F7FA-BECF-E716B408604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8F4814AB-8737-3473-4091-0AC9CC498E0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189073A1-69F4-4163-2901-0A8F1CCAB4A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11E91AC4-5279-B092-514C-E2E62EFB93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B48FF6C-628B-F912-5D2A-3DD506586BC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6C27C076-E212-E888-2112-E28664FCF79E}"/>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09E4FDDA-18EA-8A6D-554E-743A14BDB7D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8CB77DE3-222B-4819-A91E-03AC53F17CB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F277240D-2667-0A46-7726-8C8E820F06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977E800-E1BE-472C-EDF4-F4B80714E2E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857BDD0-3CAB-527A-9224-C8525CFADE2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28294E3A-26C8-6A45-2C92-5760B53A68A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BCE34FE8-5FA9-CB19-4826-C4DB07298F1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3F1CEC96-FF5C-835D-72F1-2387D938FF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E530E6E-306D-7432-5D4F-DC061051A6D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40857C21-CF65-136B-94AD-8F48794C7A2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131E483A-3363-631D-426F-38E1829D8299}"/>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2A411267-1BA9-46E7-C871-94EB11FC60E3}"/>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45DDAFF5-43D9-2045-11B8-2416DA0B97BE}"/>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EE185F36-1CA9-356C-274E-FAC3ACC55BDF}"/>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414F220B-15D8-F69B-BADC-94279353540A}"/>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EF8CC476-A91F-DC53-D698-FBB24B6717BF}"/>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4FD3CAC3-5BCD-F371-ED3E-ACE0319633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BCBD5967-1E1C-434D-1123-AAB746F808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BB358096-56F9-7AA4-DDFB-A2F64A7EAC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248C32A2-1515-198C-4FBC-3192444FB1C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291E561F-7AAA-DAF8-7864-E915977C212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34D71453-C828-612D-233C-1BE4A705788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59E11F87-752D-1F22-4526-76AB981961C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0541D3A9-624F-64DF-39FE-C1951F11405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6367BEBB-F513-75B3-6588-8C7B3157F03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8213B623-19EA-64A6-4CEE-614FB3F138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6B383C5F-F9F3-DF5F-6558-CC9933D23532}"/>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48247178-E380-3114-DC7A-7541F4FD077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CB3809AC-D941-A691-20E1-39FF4D575C1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A12D9E0B-026A-574B-B2A9-566C9BBE09A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83B3997F-9369-EE1A-C04A-C0C203BCF5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E9AFAD78-F0DC-ADF8-A6D2-B8CB898D39C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201694FB-DB39-ACEB-CE54-2B8E1B2BF54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3353036F-D6E9-75A3-19DF-ACF9F36B775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821EA4C4-87C4-FC59-2F2E-E11A7389178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2768AF44-6D12-60E7-AE45-1201B27B991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E6CE44E2-3305-1267-E1AE-84B64AD2D42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F9197F4F-4383-01A2-692E-F35530D1F8AF}"/>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0EACDFD7-B559-2DDB-EBF5-F6EA3A0A0E4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0BA04B43-FA55-DDC6-B02D-96817FD8E7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C01B20E-0B58-4D74-9E2E-DCAFE2CD538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20F0AD9B-23FB-C392-7AF0-713E798ED01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C880E391-43C6-1CC8-640C-01C2298A2EF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61FBC682-8ABD-4848-036B-EECC9819AA3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7B63D71E-867D-ED9A-0CC3-6950391AB8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113C4562-6776-1B87-92BE-36AB3B85D9D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BBC9DB85-129C-7E7E-F106-84FC126378B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7B9BA613-2030-7A43-5C4E-6678416CE64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38792D75-2654-DCA0-42EB-9F27802D8452}"/>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AE345A38-99F8-7E11-E491-83AD805C3D5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41B67CD2-B694-EF64-D809-4C8C13B568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25A678D7-4A7C-23C7-ADF8-F36050AFDCF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83E68140-7BB4-F145-E630-2F1750AE7C4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6A64B99D-058D-2ED8-963B-DA5DBD14528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489573CA-5D1B-0DE1-87B8-D80D8493972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9B16F18E-6BDF-8FD7-8868-E5A3F1DC40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49404E9E-9D89-99AD-AC56-165F364571E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3A05AA49-93F3-32A5-A06E-029CF5A120C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DF89E123-7DCF-7939-D23B-9D3F270360E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F3B5DD73-ED67-02BA-7ABA-8B63E1E15C1B}"/>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F9C092F8-247C-0A80-754C-B6B3C2A893F4}"/>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52045D60-8412-8C9F-05BB-84E59B23F10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EACD5D11-1BF1-27A9-F81C-DC392D413A1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98BC3794-F748-BFB0-DF16-1E111FDC784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0C36BF32-71F1-D4D1-2D7D-20180047D3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49B5C62C-4564-50BD-B813-6B36291905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5B7EEBDB-F56C-ED73-9BCE-B020FA6B59A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C54D32B0-7A8F-8635-D2E1-11F532BF0AC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1EAB0DEB-B57C-32EC-CE0B-1EB3167F8EA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B0CE722F-D40D-36F8-23E1-B8BAB4AB6A7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FC368977-F662-8968-37BD-6E242635CE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3683C797-1CC1-893A-A21F-F9E036EC0791}"/>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C3B1A8A1-CC57-9F15-3452-FC61DF575ED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C8695629-8478-B16C-FBFE-92B3431D876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B6F44BB2-5347-72EB-1A81-B8B12A9DD73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E3AF8F73-34BF-3647-AEA8-69EBDD5CC10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DBD5F47D-235B-7571-7585-01E3CEA57A2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B9F004F2-6C2E-C88D-359B-2674C837908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7B7AA5AA-42ED-3E7D-F6C8-BC6E9E59B04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54010FCF-0E2F-8A70-06FD-C89A6AE09F2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ACCB7391-02DA-16C6-858C-11EE1E6F905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510FC926-2FB0-913C-A929-576E8EA800C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C6AB534A-79FE-437A-3260-1D675D6CA6D8}"/>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9458B4A5-202A-6427-4550-7D911AB51E4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F1AA736F-81DE-DFB9-049A-5D477380E6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E1D38B5B-0415-595D-F775-DC078A3DDD8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6D15CE21-D2F7-8EC3-67B3-3E4C3D5C030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E1AF8E4C-0074-F6E6-FD17-FD79062FCCB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B3077D8A-AE29-5BE5-CF87-550DD9F500F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6682E45D-294F-E74B-1618-D75282F96B7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A8A25A23-838A-4241-9D6C-EB1AE7FBE6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EEFD8005-B765-6D1B-F55B-181D7FB66BC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E67EE34F-CDAD-9A61-D77B-7E80837C22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D1748321-FEF5-745F-5F41-67EDA594FFDC}"/>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5DFC8E0C-2057-703B-A470-29FDFEB594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C8863E9B-7700-2EEF-35AF-ADFAA7219AF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5C5B7310-0DB9-02FF-0F74-F0977A6B270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324C21DD-B0F0-BB1D-324E-D3C42876E3E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17D9B559-10DC-03D9-73C2-AADC7A61056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05B097FF-2C99-B002-E3C3-B39446B585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8E093E30-0DF1-A04F-F32D-62AA78E0DCD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1D5DAB4B-82CE-6E8E-F9F1-F0AC0AB50E7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04A64326-9FEA-8047-86D9-9521E607846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2CAC504E-118E-4A1A-5CD5-C76D1564F2E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E0365C6B-40C1-581E-A524-4FEC85EA53AF}"/>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FCF1BA33-9866-3971-8878-EC008D831B37}"/>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B03CAA7E-C464-6256-DACC-57D91933F7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701D5DE4-1E03-14D9-D120-A716C5E7102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8DE3BB21-3F4B-19BD-3D84-1B2C34D9ED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0246B635-D7F5-6E98-9C5A-6F2856F72BF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61A2BBE1-4439-779A-546E-40D3A1A4A7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2C70470F-7002-9966-3223-300354B96B2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7FFF021C-E7BB-726A-7E05-9DFACD0EB91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D0516893-5670-6019-2D22-2D045F27198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C04D106D-0EEF-29BE-3B02-FC306A07409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B53BB125-E371-8B16-9A5F-B9C77698E2C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556D4F22-0730-444A-F446-A999D230F5CE}"/>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0DF826D1-237E-9513-DD3E-093ED79BB0A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BE45A394-982D-B1E8-8CEA-09E7C89D618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8E111CE9-0D62-D79A-B759-4E52CDF20F1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FC0ED64D-4803-05BA-EB53-4D0DA49CC46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96CE0293-2B00-3541-6403-93E3C39612E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2F53919A-0826-63C2-5CCB-6664FAD2C33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44A4B3A8-EAC1-39D1-8933-BDA89F40BD3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5721028B-FA01-23B1-7BF0-A067E852384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A048C0B6-126E-50E6-02C4-77EC0C47717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8147E2B1-BCAF-A3EF-9446-34908738432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DC6B596A-8679-F58C-E0DD-23A3ED4F37F3}"/>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EA35C53F-68E7-AAA2-E768-6AD1545EB6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3AF8D817-5F94-31E3-C4DB-237D71A4C8B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A903448-1F24-E166-068D-5F99C5760F3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05AC609F-6AA2-94F6-03ED-967117FD369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EA694153-8369-313B-E2FE-E3991F26CE7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ABCD457F-DB1D-AAEC-FEDE-85AFC5DF195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7432DD56-7180-3CD8-9227-0D7BEC589D4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D69578BA-4AD4-04F9-2E01-9AE646A38D1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AFC523AD-20E9-7A6A-E76D-BF6EAA38FED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29E276B3-12CD-909C-05B2-0809B11B94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0C9EB5A4-E5B1-973F-BBBF-D25815C898EF}"/>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779FAFF3-C202-C1CD-B7D3-AE355999A67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E259C08C-728A-F91B-5322-F8B5851A89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424CA41A-FE54-2D6E-14F8-8338E3CC833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41E61A34-92C3-D08C-66F9-DA7F6B6D6A6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2CF9E5A2-4EE3-045D-1A34-31332A5857E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CAA3F99B-E007-E48E-E227-7AD4FE91D99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5399FB12-42AB-5B5A-7391-72D36DA543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611627E5-0C2A-159D-710D-58719B41114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3BAB2487-E3FA-9E0E-9AE8-688A0E42EB8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02ED80A9-511A-5B60-8B1A-74930D222E7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4" name="Rectangle 223">
            <a:extLst>
              <a:ext uri="{FF2B5EF4-FFF2-40B4-BE49-F238E27FC236}">
                <a16:creationId xmlns:a16="http://schemas.microsoft.com/office/drawing/2014/main" id="{F4E73DAA-FC86-45B4-67B2-C491748DC8BD}"/>
              </a:ext>
            </a:extLst>
          </p:cNvPr>
          <p:cNvSpPr/>
          <p:nvPr/>
        </p:nvSpPr>
        <p:spPr>
          <a:xfrm>
            <a:off x="724306" y="196724"/>
            <a:ext cx="643394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Phase:</a:t>
            </a:r>
          </a:p>
        </p:txBody>
      </p:sp>
      <p:sp>
        <p:nvSpPr>
          <p:cNvPr id="225" name="Rectangle 224">
            <a:extLst>
              <a:ext uri="{FF2B5EF4-FFF2-40B4-BE49-F238E27FC236}">
                <a16:creationId xmlns:a16="http://schemas.microsoft.com/office/drawing/2014/main" id="{C1E74E8E-0B16-8D91-234D-122CA89FA490}"/>
              </a:ext>
            </a:extLst>
          </p:cNvPr>
          <p:cNvSpPr/>
          <p:nvPr/>
        </p:nvSpPr>
        <p:spPr>
          <a:xfrm>
            <a:off x="1080592" y="802531"/>
            <a:ext cx="8363572" cy="830997"/>
          </a:xfrm>
          <a:prstGeom prst="rect">
            <a:avLst/>
          </a:prstGeom>
          <a:noFill/>
        </p:spPr>
        <p:txBody>
          <a:bodyPr wrap="none" lIns="91440" tIns="45720" rIns="91440" bIns="45720">
            <a:spAutoFit/>
          </a:bodyPr>
          <a:lstStyle/>
          <a:p>
            <a:pPr algn="ctr"/>
            <a:r>
              <a:rPr lang="en-US" sz="4800" b="1" i="1" spc="50" dirty="0">
                <a:ln w="9525" cmpd="sng">
                  <a:solidFill>
                    <a:schemeClr val="accent1"/>
                  </a:solidFill>
                  <a:prstDash val="solid"/>
                </a:ln>
                <a:solidFill>
                  <a:srgbClr val="168DA5"/>
                </a:solidFill>
                <a:effectLst>
                  <a:glow rad="38100">
                    <a:schemeClr val="accent1">
                      <a:alpha val="40000"/>
                    </a:schemeClr>
                  </a:glow>
                </a:effectLst>
              </a:rPr>
              <a:t>»</a:t>
            </a:r>
            <a:r>
              <a:rPr lang="en-US" sz="3200" b="1" i="1" spc="50" dirty="0">
                <a:ln w="9525" cmpd="sng">
                  <a:solidFill>
                    <a:schemeClr val="accent1"/>
                  </a:solidFill>
                  <a:prstDash val="solid"/>
                </a:ln>
                <a:solidFill>
                  <a:srgbClr val="168DA5"/>
                </a:solidFill>
                <a:effectLst>
                  <a:glow rad="38100">
                    <a:schemeClr val="accent1">
                      <a:alpha val="40000"/>
                    </a:schemeClr>
                  </a:glow>
                </a:effectLst>
              </a:rPr>
              <a:t> Mathematical or Statistical Institution:</a:t>
            </a:r>
            <a:endParaRPr lang="en-US" sz="3200" b="1" i="1" cap="none" spc="50" dirty="0">
              <a:ln w="9525" cmpd="sng">
                <a:solidFill>
                  <a:schemeClr val="accent1"/>
                </a:solidFill>
                <a:prstDash val="solid"/>
              </a:ln>
              <a:solidFill>
                <a:srgbClr val="168DA5"/>
              </a:solidFill>
              <a:effectLst>
                <a:glow rad="38100">
                  <a:schemeClr val="accent1">
                    <a:alpha val="40000"/>
                  </a:schemeClr>
                </a:glow>
              </a:effectLst>
            </a:endParaRPr>
          </a:p>
        </p:txBody>
      </p:sp>
      <p:sp>
        <p:nvSpPr>
          <p:cNvPr id="230" name="Rectangle: Rounded Corners 229">
            <a:hlinkClick r:id="rId10" action="ppaction://hlinkfile" highlightClick="1"/>
            <a:extLst>
              <a:ext uri="{FF2B5EF4-FFF2-40B4-BE49-F238E27FC236}">
                <a16:creationId xmlns:a16="http://schemas.microsoft.com/office/drawing/2014/main" id="{CC2B6F99-B797-9093-BB5D-F9B5AD34C383}"/>
              </a:ext>
            </a:extLst>
          </p:cNvPr>
          <p:cNvSpPr/>
          <p:nvPr/>
        </p:nvSpPr>
        <p:spPr>
          <a:xfrm>
            <a:off x="6623340" y="2436059"/>
            <a:ext cx="3322517" cy="1246653"/>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Click Here</a:t>
            </a:r>
          </a:p>
        </p:txBody>
      </p:sp>
    </p:spTree>
    <p:extLst>
      <p:ext uri="{BB962C8B-B14F-4D97-AF65-F5344CB8AC3E}">
        <p14:creationId xmlns:p14="http://schemas.microsoft.com/office/powerpoint/2010/main" val="315438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6"/>
                                        </p:tgtEl>
                                        <p:attrNameLst>
                                          <p:attrName>style.visibility</p:attrName>
                                        </p:attrNameLst>
                                      </p:cBhvr>
                                      <p:to>
                                        <p:strVal val="visible"/>
                                      </p:to>
                                    </p:set>
                                    <p:animEffect transition="in" filter="fade">
                                      <p:cBhvr>
                                        <p:cTn id="7" dur="500"/>
                                        <p:tgtEl>
                                          <p:spTgt spid="2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0"/>
                                        </p:tgtEl>
                                        <p:attrNameLst>
                                          <p:attrName>style.visibility</p:attrName>
                                        </p:attrNameLst>
                                      </p:cBhvr>
                                      <p:to>
                                        <p:strVal val="visible"/>
                                      </p:to>
                                    </p:set>
                                    <p:animEffect transition="in" filter="fade">
                                      <p:cBhvr>
                                        <p:cTn id="10" dur="500"/>
                                        <p:tgtEl>
                                          <p:spTgt spid="2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6374C-0918-3200-7EC4-89B8D3AAA059}"/>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5ACA9CB6-0BF3-2C8E-7C4D-97B8F31B3A63}"/>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26356C55-FAB6-A90E-6E29-9D2DFF645129}"/>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D6C2BE56-C73B-1263-81C2-EADD85DCCFB5}"/>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E794BA9-31A5-FB48-42EC-82D6FCDFFD5D}"/>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7635897-B403-1334-415B-88AC81D44D70}"/>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867428D7-F4FA-FBEA-ECD6-08282BBF6844}"/>
              </a:ext>
            </a:extLst>
          </p:cNvPr>
          <p:cNvSpPr txBox="1"/>
          <p:nvPr/>
        </p:nvSpPr>
        <p:spPr>
          <a:xfrm>
            <a:off x="4143865" y="4871691"/>
            <a:ext cx="8347955" cy="3046988"/>
          </a:xfrm>
          <a:prstGeom prst="rect">
            <a:avLst/>
          </a:prstGeom>
          <a:noFill/>
        </p:spPr>
        <p:txBody>
          <a:bodyPr wrap="square">
            <a:spAutoFit/>
          </a:bodyPr>
          <a:lstStyle/>
          <a:p>
            <a:pPr algn="l">
              <a:buFont typeface="Arial" panose="020B0604020202020204" pitchFamily="34" charset="0"/>
              <a:buChar char="•"/>
            </a:pPr>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Baum-Welch Algorithm Gains</a:t>
            </a:r>
          </a:p>
          <a:p>
            <a:br>
              <a:rPr lang="en-US" sz="4800" dirty="0"/>
            </a:br>
            <a:endParaRPr lang="en-US" sz="4800"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endParaRPr>
          </a:p>
        </p:txBody>
      </p:sp>
      <p:sp>
        <p:nvSpPr>
          <p:cNvPr id="25" name="Freeform: Shape 24">
            <a:extLst>
              <a:ext uri="{FF2B5EF4-FFF2-40B4-BE49-F238E27FC236}">
                <a16:creationId xmlns:a16="http://schemas.microsoft.com/office/drawing/2014/main" id="{E54DF648-5B4C-F810-EAE5-6678C4C8CE24}"/>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099F451C-BDB2-D7BF-9F68-1EC5618A92EC}"/>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42E2A61B-A4DF-53B5-9F28-FFE8F957B506}"/>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5069178D-7D05-BD9E-4560-5AC445927847}"/>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E302AAB-ECC9-7145-2313-9132D3F9EED2}"/>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2BB467C-C12C-0DBD-C7A6-B20650A76D00}"/>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5</a:t>
            </a:r>
          </a:p>
        </p:txBody>
      </p:sp>
      <p:grpSp>
        <p:nvGrpSpPr>
          <p:cNvPr id="170" name="Group 169">
            <a:extLst>
              <a:ext uri="{FF2B5EF4-FFF2-40B4-BE49-F238E27FC236}">
                <a16:creationId xmlns:a16="http://schemas.microsoft.com/office/drawing/2014/main" id="{1BA88449-F790-88CE-577E-399E7A270980}"/>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2B1D3221-EE3C-5632-931E-B2B721FA06DB}"/>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C9400D69-7958-A619-A412-D0F45DE64A6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4029E333-B9F6-DAA7-FCC6-C98D21CF618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F1D0BBC9-73C7-9189-9792-EA0493856BB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E964DF04-4EE7-CE44-B01A-6EA30914DAD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75230C5D-3529-AD42-71D6-C93C2B7F024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6EAEE91E-C16E-51B1-7BFE-54576F39A59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3F8A42F2-2658-A77E-4525-6A4B11E8E9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F936B8B8-F7AE-69C9-01CC-5E40C8EF7FC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8B181B45-2095-D364-E2C1-3D838116B32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FAEB2C70-4132-168A-6F8E-E38B09E7370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0DC58AA1-115B-A09A-B62A-6AA108054B10}"/>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22F89F47-1ACA-B974-7856-B10457E2241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80E2FB70-6CD5-BB11-3241-676AA1470BD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DCCC327B-20C3-96BB-8076-68B094A10D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CB3F01E3-17D4-EE91-7493-7853E1B515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92E62783-4254-D8AA-79B9-701EA9CCCAC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A6640232-E1D8-250A-209E-18962FF22FA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3C55C0DE-1F46-AF3E-8F06-839E73A8679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32F9D613-7A35-27E1-D633-5F2AEA7FF75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B9D16779-A706-3E0E-2519-C525C4D99BA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D2601968-05DF-F088-68AD-7DAA5FF683A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059EBA20-999D-7105-62A0-68FB0BF1601A}"/>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F79405D0-738F-9B97-2FBF-CC5C18061F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D3BA6A24-5542-95A8-2CDF-CA5801A5562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65712872-0563-6F70-D270-9D72EEBE556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8F4C9877-8CEE-6526-A1B8-467478857CC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3D096670-8693-11AA-C0A7-7C4E1E1A980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0669FDC1-2358-B43D-3ADF-99AEB56EAA8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FE52D5F1-96AF-3306-4775-3FD351A7B3A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342CE00F-82D8-D8FD-F383-D4649512DEB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D661201D-0F20-E0A5-833F-A504A63E503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13C08BA7-89C0-FA30-AB6D-8E95FA63D4E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3C1C3940-73A2-657C-C687-6D190FF95281}"/>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287C8E21-D7E5-1432-C1A3-EE21241702F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14283ADF-1C5F-026A-0A87-2027A78C197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BD761136-C49D-A1FC-2FF8-CB9C8B8ED55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3C8FA9D4-C96D-E6D3-01E8-CE3347F1E0D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A0358DE8-2152-51F4-430F-62E0BED1155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F64DAD24-A97A-9555-8668-AF7C8C1584C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9C44F46C-390A-CF46-C0E1-350C772706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88CC7D3F-9B7C-2EF9-0C87-34490B5979B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E1E96827-9A89-70BC-5CEB-18137E727C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45D1AF9C-01B7-CAC5-2C3C-DF0D3C8E60D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AF5DBD36-A885-F81B-F0E9-7B237EA7B2DB}"/>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CB09AC22-836E-CEBB-1A28-9CCAE7354004}"/>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4B5A9F35-E9DF-E7A7-1D5A-0EE3196A725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88B314EB-FB66-B48B-584A-65F1CCE67F1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43419EB5-711F-FD5B-65BD-9AFD81DE0E6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C30FB0A2-B00E-3666-0F0B-6CCED78F441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117F5D47-C44B-E5D6-40D9-6065D5022C6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C78368BF-A7E3-DC6C-B449-F423867DC4F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D9E5742E-C318-E965-3ECF-3E256CDBE0E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AA331576-80CE-6025-0438-55D7F59D80B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82AC51CF-CB07-3735-927A-D59284D00C3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7E225FDB-EDFD-FA02-E530-C02601DCE02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AA226EAD-AE1F-5AD2-D868-5489127C50A7}"/>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AE73F392-4830-4DC8-C570-7FA1ABA833A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4135C1AD-8265-4B6F-D497-C32E1ACABB4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325A5FD6-5D40-C305-6FE0-8FAD89E16C7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15508E71-2DBF-9C43-2817-4EEA7705FFD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3864C5B0-D61B-AD35-594B-B019468DF7C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1C055CF5-7BFE-6818-7620-BA19362AAF9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D0A2F042-890A-88CD-503D-37AE8E7A164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29032970-2DDB-7CA3-87F7-982D4C7FBFE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8A1B005E-D539-4D89-4B81-98828C6F13F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D9741A6E-6C23-E699-49A3-32530B6D545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E5EED296-7A0B-8770-201A-67D21CC0014E}"/>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D23F49EF-C509-4A40-3671-4E523BA719D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6A3F9E97-F3D8-FB2E-558C-B6622DA8128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08BC33C9-78A9-53F0-8FA0-D82067AAC4D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DDEDC680-78E4-D42F-B069-D17A7D007C9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36A3EE11-2FCC-001F-A2D2-C36D9EF5CF7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0A565317-7683-301C-1D9D-89F3296592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29622B14-2FEF-F24C-4180-6498BB380F1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A12CCC36-85D0-39A7-8A13-D446D9D1E2A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B30C69BD-D72F-3260-E2BC-21FDD79210C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365E069B-9148-4165-A3F4-F79B102AB9E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88085963-3768-A9E2-139C-8CCF6D61113C}"/>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0E19E49D-F38A-3365-02F3-97335B4CD6D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F898CEAB-079C-597D-BA68-9BB28500B3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A853C2BD-6BDD-4217-ACC5-BF253990B79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162BABD1-F164-C9C4-DC24-2993A0D87C4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4ECB3F72-0507-83EA-B888-A685026CC45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5286FF3B-E72D-8B9F-A4AD-D93A3B0EC8F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DDF0C9D5-A8BC-F56E-E0EE-A64670917B2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01A15F33-9C2F-5D68-7027-D94683D3A0E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F7BB363E-017F-779F-44C1-22DC7023148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7ED1AD7C-C157-2EDD-3580-D6AD6C990A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2FDCB308-8484-E86F-EC71-B3ED2972E7B1}"/>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0C5A263C-4A78-BD81-D8ED-B16EE06BA4BB}"/>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417CCD6A-A74D-8E05-0E36-0AEE7F67889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2DD60C7E-B0D2-C994-2898-360A036F246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31562EA7-0F90-2542-8240-FF4D27726FD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AA0EDD26-428F-75E2-E007-DCB1875A7A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F0139326-3DCC-1C50-48EC-BBC45CC2B0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5B3557E6-0301-AE06-E571-41DC7B7E3C4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1FD9A06E-F5C7-3A70-FD39-95533F76D79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1166219C-70C1-39B4-5030-F5C7AAECA5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FE6900E8-58F2-F0A9-6024-5D5E3545EC8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5BD876A2-7051-B78B-628D-247BAA5EE2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0F137BF8-2C44-AFE9-B08D-9B397FBB21BF}"/>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B5454B39-EE87-5419-C043-9416F96AB4F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282D7CF6-078A-B664-7196-EDF888A9F92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1F3DBFDA-245E-63B7-B4BD-8B536E643E3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537DE3D4-8392-75A9-17E5-2D4C636B1EA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0FB62C58-01D3-83DF-596F-5547D4E593C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1B7FA82E-7458-A372-B035-EBBB9384737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72631056-BA28-E693-D73F-BB0446BD717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B713E655-4AF5-CB3F-226D-B57F187AA58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42966B3B-767C-52D9-3C32-112E7855140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A99BE58D-B26F-F004-BDE9-F96430A8A2F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71913364-0370-FAF5-4669-B0E0F36C519A}"/>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DB3157B5-0F71-FBA9-5F6F-FFA7CD0316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9B2F0E80-5625-7E8E-5E8C-235737B9661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FA6D59A8-45C1-1E4B-7F1C-0E32D954D6A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C14E125A-27BD-8B5E-DBBB-0AD402B6EE8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0A7DC2E9-DF00-7EF3-5C8A-F490DBF3B2B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EAD8AA53-4CA9-403B-37B3-356632B240E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C5138188-83B7-C0D2-5495-4234D4DD46F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6C45822C-FB8B-708E-F983-8EB59F4252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C4968F59-7B0C-262C-BDF0-3B753EB88CE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130B7ADD-9DDF-B43C-F297-BCF005D1507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1945704B-8463-8E43-A7FB-C6CB985ABB60}"/>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9D82F4D3-B674-AF0C-5C49-8A3667ADD2C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346EDDA2-44A2-436A-2C3A-07FCD1EC067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80C0A1CA-5C4C-7C21-5B9B-3D4595A753D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1F08CC9D-3443-31B9-5647-0F598C9A478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566FBFBC-D134-05DB-64C7-2C72F9FA9F2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8423E1C8-C5C0-686F-80FB-6EC74780A3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9EF10B74-304A-5E0C-D33F-460D53DD755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0787EA65-C576-7FDB-2536-DAABC47AD0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C7B27D68-2CFF-1722-797B-46300403AB8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590DEF7C-7901-BC6F-25A0-5B88CEBBCD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3F46C0F8-B7DF-DBF1-D009-446C7AAF3713}"/>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46521AA1-071C-78D0-4B58-946F5A7608EC}"/>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2A6AEFDC-8031-DDE0-E8D3-BF362918D73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8FFD6C2F-3AB3-BCC6-DA43-97160C7351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E6DCBF37-A0B6-D52C-CAC6-F8CC6CAC27E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4D0807FC-E936-AE1F-2431-C930D2922C9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B821E74E-D7DB-53CD-F4D2-CED70C1A18E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2052A2D8-A6F9-B922-43CD-B1729D250A9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B1A78A08-6EC6-8CA7-4189-50AD3C6F699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1D6AFEAE-518F-0CDA-7055-3345C621F97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A8C90F5D-D57C-4FE1-7290-C4E16FD09F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F5910832-971A-87FD-A8A7-029F63CC382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E5833581-1CB4-A7F1-B443-E04E53B9DCAB}"/>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4DEF1A1A-2B65-A37D-DC75-1A9DB55C41C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71FD58F5-00F2-0868-6628-3A964518004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E668F1A2-C3DE-0487-387A-3CBCC922E78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5886C6C8-B443-2435-4B4B-E41A81DAEED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2671C921-6CF5-FFF5-B72C-485E325B4A3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83B53AFB-51CB-B5D8-1654-0C4E2A6A541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019E8B06-95A5-4ADF-D782-7186F95106D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29F67BD8-01FA-C2FD-1C95-80F404720D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1961C7F3-B4CA-0A84-2540-47F16574188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6E8AA8BC-D6FB-DF62-40A1-4FC76DD10B4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DE4FE0BB-787F-8739-6C28-AD2D45F66298}"/>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18B18C14-1CFB-0E37-3E8A-49002ADFFDA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608ABD05-A384-C305-946D-0A861729BCF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EBB53A87-88C7-4997-03A9-EBC3C4ADF4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74CFEAAB-348C-896F-3EE4-7088DFDFDA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2F80065A-4ED5-E047-04DC-674E79CBBE4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2F99B977-8E73-4D9F-694D-F4576762849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16812B8F-42C6-6029-F3E8-4ADBB7CDD6E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5D1BAC30-788F-1456-A68A-FECE0318D0A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C2B1DD88-EA3F-CFDD-1D9A-92F8E623DA5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2FE2DA05-338A-FEE4-E4C2-14B9D29EC6D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98DCC3E1-213F-DDF9-5FE0-E7F99E3A2120}"/>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87D74BE5-F07B-772A-BA81-93C264E0D1C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B892C14B-EAC0-D7BF-8B52-F83D4B0940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6B84F347-CB72-6BFB-BE7C-27285B6F18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D5DC1E8C-41BA-B182-3C4F-B83171893BA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8F33A0C9-1420-950A-CBE5-EF319F4E68E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D469A33D-4B4A-9DFD-E87E-C222D42436D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68C745D7-B60F-4784-EF9C-9FBBD7FA9C5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D2D0BF96-E288-F69F-1595-0AE07D49E4E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ADDE9F00-180B-C8DB-79F3-A791E5ADEDF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1056725F-2508-D7E1-A098-D6A81862929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9B9D63C5-F5D4-5FC6-36CC-70DE9C5A1F37}"/>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E3166E72-8F30-72D1-78C1-58E621EC1304}"/>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4F1740CE-BE36-2B1A-FD8D-8D53C94B099F}"/>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ED64CDFD-0260-2F00-5027-27CCAFA3E83C}"/>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BFC59EB1-A1D2-F19E-1F97-F36CC802005F}"/>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C4C29C68-761D-2B6B-1981-6BA07B1C59A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3DD70700-95EF-C189-46C5-9FC83FB5E8B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6D918C86-0A3B-3365-6168-3F5B35A566A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31E95730-DA5B-5607-284E-E06870CA5C1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E483C961-01AB-C7F6-5BD6-21C8D8D444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CDA135A4-3A70-A857-56E1-9205D91802C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EBB87F82-76FF-1F01-8052-63B5A2FED0C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14075056-0C94-8F1D-1F75-0EFBC2F1EC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83AC90F7-4DEC-7ECB-7139-446E66417A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7C6A677D-F9F8-4C69-FEC7-AF07A1699F7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1B553903-C7B8-2415-764B-19E5BFC7C751}"/>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6E545A4D-5D3D-AE89-3256-C2FFE2632F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7CDEB8F0-83E5-35FC-A88D-08DB877531D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2F3F8189-C398-96F1-E3D2-23C121009EB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FAD37537-06C3-E183-63AA-E0FF355F0D5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68AFE56B-DBDA-A05E-4CD3-FE26DC5910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C0D37CB3-6C98-0C42-A9B4-4F4C676BB93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E15CBF93-7338-1CF6-5600-E565B210A93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A178C079-0A37-0101-A05E-D60A34AD54D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4D5F0CE2-B710-6C7B-BB79-41FEA808169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69238D42-45F5-B629-797F-169569FF709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FFCB390C-0E36-1EF5-CB87-F12023155A33}"/>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5DA23EC9-1162-217D-FB54-CB3DFE32124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6BBFC1F4-5905-625F-1529-91FE1C351C1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497A589B-5A3B-5B75-5836-8A1DD66CB47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77AD3E42-22DB-95A9-5CC4-AB6AA997D46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F4E19CCA-A2C4-78EC-1F2B-565A67C26A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8D928DA9-5E5B-65E9-8415-4B44C0BF20C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0B0A8699-150E-6195-0798-DF21C384B5A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A32F98F7-DAC0-AC5C-78ED-C64D1F0B2E4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6BFE7EFC-8400-608F-F6BB-47311C3343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E04DF98F-4FCF-5F9D-378C-8BA3197ABB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D5C894DF-A5F1-B52E-538C-5E9CFB1D1661}"/>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CEE15FC7-A5A9-086A-609B-467BACEB8C2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6D9663E4-274A-E3B9-A8E3-DB62A969D2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970A7307-D136-B6EB-64D6-CFDE3D34728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46C9D9FD-3E56-169A-BB9B-7ED7F73F96A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69D4A88B-1D63-D0CC-C7F6-4BE5BA9A881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F1D9D69E-73B7-52C7-5305-3BE4096B42F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E9960BC9-3018-90FD-3857-AA3EBF961A7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B838F7CC-A816-7C28-DCAF-07FD2CD068B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DD44CA54-43C7-B4BD-C036-2B08C92F18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0A5A8296-40BE-BDF7-D5DC-234DB4FFD97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30920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E772E3-C87D-CD19-1F01-DCDB06DE22DE}"/>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0743D707-00AD-3639-D152-F15DFF2E880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5673E00C-E279-71F1-A77B-966C7D5C81A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6A8DF231-2EAC-9E64-3F73-E82B55317B05}"/>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2A95F92A-6E27-5347-C2A8-79D843A3C611}"/>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A029DC3E-86BB-E261-CB2C-F94CF5D67211}"/>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38014922-F926-F90C-771B-2C0D316BAC9B}"/>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24D596A2-6D54-1F00-7ED6-5662F0CD374E}"/>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95B0814E-4897-3A5D-BB10-DEAA21A184E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4" name="Oval 223">
            <a:hlinkClick r:id="rId8" action="ppaction://hlinksldjump"/>
            <a:extLst>
              <a:ext uri="{FF2B5EF4-FFF2-40B4-BE49-F238E27FC236}">
                <a16:creationId xmlns:a16="http://schemas.microsoft.com/office/drawing/2014/main" id="{D4368E59-4D5E-A5EB-FC9C-E7B2838F768A}"/>
              </a:ext>
            </a:extLst>
          </p:cNvPr>
          <p:cNvSpPr/>
          <p:nvPr/>
        </p:nvSpPr>
        <p:spPr>
          <a:xfrm flipH="1">
            <a:off x="1677477" y="5596233"/>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D5D9F505-FD21-8A77-4B30-B2EF8F28F70C}"/>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7A324A42-E8E9-C4F1-921D-B65D121EA36C}"/>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445BA2F4-D90F-4306-EEF1-F294F4F5E2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F5747E32-4018-4D11-DED2-F4422CC0AE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1E141949-E354-EAE3-C084-BDECFD7FB0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F87A9D69-1B27-1861-7BA9-9B6B6E4EFB7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FF95A041-7F87-08A3-7750-45B93D97A4D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BD1967A6-844E-E0FC-2D34-F1F665F3DB5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EC1200D2-D125-637D-117A-E7B8025433B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7CAAAC52-B5A6-CAFE-6FB6-2088F2913E5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53ADCE43-55B0-C659-BC72-17A54624273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CBD66C30-021C-4ADD-8F78-25026F51048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041EBCB1-C7D1-21B7-DFD8-25F226F32EC2}"/>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4F62269E-FDB6-9930-0418-0BB60A0A1CF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D76283E5-CD3D-F1EE-B1B7-EC2B83FCE34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542A4498-D8B8-52B2-4C51-C4C3A0D1B14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1DE8D34-7956-16D6-AB29-6A04E399FF8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0BEF82BF-01BF-31A1-8327-901DCA04908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FC61ADAB-ED89-A9C1-331F-D29EF514BAE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BA4B1314-EAFB-EEEF-E30E-F249A43E6A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FCAC8F01-89A7-ADF0-BA71-2C36087C45A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FA1B53BB-6016-E4B4-FFD6-A43C68764BF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92C2C8D1-C4AE-716C-2FB4-E07EFA0B7D9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7F8461AE-4135-845D-FFA5-83DB6A6763BD}"/>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EF825D34-286F-5F2D-DD2C-481F5BA078C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111E4C5-9F45-5E7A-BD3B-02EDEBDAD8B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E5E65749-01D4-7E2A-68C0-53B8C5D8589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7719F687-7F60-ED2F-CC6A-29C19CE57E4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C6C23CED-6E0A-1032-2A77-D4FB8286D0F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EBBF549A-4EF2-F4A2-637F-0504DE6D8DE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47FCE20-0D44-7C51-FC4A-B9E6C72F006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9B6BB077-E30F-56A6-0ACC-B3D1036F906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9C75C3B7-1AC8-9A3B-8336-8965B7126B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5DFF30F-D9ED-F6BE-E36B-85EDC9C8A79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AE45F4CE-7424-9849-B4E8-F6792A6A677C}"/>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2506B554-636D-914E-4860-80FD4A6122B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88D5A4A0-CDE6-0817-9A53-5AD8AD8A79A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048B079-79E9-061E-0B64-FC9D8EDCEA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851AF1C-3F20-390F-E68A-7621F8DB2D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C9015F0-5126-3946-D4B8-9817AE910A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EAA6E54-633C-39C6-0D30-BB13F4FFF67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7E2CA61-647A-3B29-6624-76AF22DE75C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A400375-DB0B-5F75-1B48-3A4605F0DCC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E2D9109-4357-AA9B-B828-74BD87BFF99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6F02E40-CF4C-A821-EDC6-4BEBE75F935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C7910BAD-B3E1-F1F3-B5EE-53BF076C68C8}"/>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D3879058-26A9-13DB-FD13-2D772BCC2573}"/>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A2AFD707-7BAA-02CB-E25B-5AC20909E1B8}"/>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69F5A263-611D-1E56-8C00-0DB2DBD72253}"/>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C825D07E-8CB2-C340-F465-E384231A2E8B}"/>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DF80E8E6-1DE6-F30F-9C87-59DDA6D06472}"/>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BADD655C-E8C4-676E-10F0-FA4FC2B1A8E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FF9D19B7-2640-9A3D-6C83-16D10258F62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7F7FF39A-0C1D-C9FB-23D2-2DC6E65C4C6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3D4B8455-EA3E-C9D3-D65D-C6B66565D5A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D8ED06F3-562A-E9CD-ED65-36225CE2910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D4835A5A-3C5B-6E3C-D77B-AA5EE4134EB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195733B6-12D3-445D-0792-D10F4E1D248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672F2BB7-A2F0-748A-2007-97649DEE305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CB2A57A1-8470-3E37-A7E1-274D47CE353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3FAB3192-B4A9-13E5-EA98-867CD33DAA2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D096A035-9FE1-57AD-ED7E-C86D1E28B420}"/>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8B205C36-0079-7CCA-2D8B-13D63404D8A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E0C895A3-77B0-0A7E-C100-B683B7B7D28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C6A95B97-03B1-03E0-4D62-B49FA69C03C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D5401AFA-C18F-39D9-5858-B3144FB6EF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819FAAD2-ED9E-60F8-A367-A691C3689FB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972F130C-FF2C-F192-E654-2B822C077B3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0B10AF7D-2624-A155-66A1-DAC294705ED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F186476D-55E2-0A16-BAE9-3B2B568DB5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747B133F-1AED-687C-5EB1-27C3C9044A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09A4674C-F14F-5124-A5D6-73A44DCD59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F8B8048F-18B9-7E9E-2D04-5D5676906237}"/>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6F5EA818-E433-27DB-3CFA-90F79493E87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EA38F3C5-7334-346D-1C62-AAFD912FF92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36A6565B-E8A8-A36A-E5BC-8827476BA5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43286DF6-9953-0341-D9E7-7C653E185E7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8B885A11-C055-DA75-DB93-55AD9D457C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5382302F-DA8B-3AAC-8E71-4668184096F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388698D8-2C3A-F546-5A55-7E61D88B8C6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F30557B0-B06C-13C2-74D3-9A8587BBE2C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ABC251C7-0715-4190-3659-12A77DC42AD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7616D450-FBFE-C1E0-EBFC-C6F8304CA6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851EA16D-9DEA-666B-EB24-020555D43115}"/>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8D39CBE2-8C6B-1CC3-57A2-9831F83A6EC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C2BE11EB-C2DA-0055-D999-3243311D779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BBF93D1C-97A7-12B7-C5CA-84E6A5566ED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FBF5E872-6D1F-87FF-B51A-9EC1034FFA7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7108397C-8690-93C8-DC0E-953ABDFE4C3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BDED846C-643A-92A6-C7C9-6871B00DFD9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4A3B4F04-3D27-864D-AA63-E40C31A19E6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B7DEBEF6-764B-523D-055B-4AAF456AA2A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8661AE66-DB33-E38A-3BD7-0D70FABEE9D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E4E6FA7A-971E-BD1B-7E4F-7AF0D0C01F4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B58FAADD-BDD1-7B9A-3E29-3AB698F51113}"/>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34D96F3E-7C3C-E185-ADF5-ECA4921FCFD8}"/>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D30B382E-E1D6-D777-7EC2-8234DB5CF66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83312EF5-63C5-E92A-BAC1-D9C86979DC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54EC48A2-AA89-B5B3-7C01-52C2646539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E5E8DA8D-25DD-BE1C-EB45-2393C690830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105A12CE-A883-9868-69CE-5903CF0587F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33BB9388-FDD6-2E2E-2733-FEE543FF2E9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365E3B7E-16FF-E8B6-9584-E89A8CCC379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5F6E47D5-D2B1-B288-3B7A-DDC4EDD9B90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1E19D814-8388-A31B-DDDA-8BBF844FF77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D105DE76-2335-5000-B7DF-E67350174B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635ED110-E9F8-13D3-1CD7-EC50EC8C54FD}"/>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8D68055C-2A00-C7AB-2DFA-443CCF80F2A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C65067A3-4286-EFA5-6D09-E6936F28688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B07997F0-C102-8187-86AB-96C6D588DD7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B0D24A7B-A710-0A27-1D0C-03DCABE8750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31B0623A-3022-4232-7E4C-D3C563943BA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F54F9DB8-368B-E6D2-FED1-694E28FA5FD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890AEB92-E4FD-D95A-C9ED-4BA4AE83B9D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09B35E00-F790-858B-02DC-BEAD0754514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53241162-186F-6AED-1232-7BF23B2E520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82C41DE3-C36A-8C7C-0870-92F9D672095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49AE2E94-45AD-B271-5CDE-E512DDEC3AE4}"/>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B76E7921-E487-4ACF-4B98-BB8E005DE50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8FD6ED69-8372-5A36-2FAE-CD1CB7EA0DC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B45817A2-7528-85C9-B05A-C4E72FFF34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205679AA-BA8E-B359-16A1-0A992C4DBE6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BA5D465F-E993-F826-DF1F-83CF483727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6DF3ACD8-9596-E0C0-6DCE-18F3B7553C9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A9BD278C-1982-357A-3E1E-FF428C2E9F6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2E36CC46-FAE5-EEAB-9366-61850099E55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984EEC6B-950A-D0D6-CCD0-809030426F5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09F58A0B-690F-7865-8787-1571E310EE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677D1139-21C3-8ACB-769D-078A255F59F1}"/>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BE47C306-08E9-6B16-34D9-6A3137FC0D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75DFB93C-8C0E-1A88-4004-712968D4762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14B8BA30-F869-5A5C-B7C4-824812ABC36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85B3D708-6DF7-C252-5268-614F1846583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B5EDF2BB-5AE3-2B72-166B-A2B14A6D84F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7B7CB611-2A6B-5C7E-9F8B-261E716EB91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2B9DFB4F-4F51-AF11-B7FD-A136A42917E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F785E9FF-A00F-42DE-D485-6136FC5C6A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E2A88A88-9DA7-9B86-B00A-3BC2A6C6044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A183A181-3440-AB58-753A-767D9771F50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0C9F5176-759A-DEB8-922C-E702363F7972}"/>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84287B8B-EA26-3FCB-7352-AB1ECAC0AEA5}"/>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15573E92-3D3A-F8A0-7C8F-FA60B5722F2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92C28E8B-6AF8-6D64-84A0-25C55CB8B3B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6285FCB1-E18A-9A3A-73D0-C902A48862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748CFEAD-2AD7-7B46-C417-3CD0A510D3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4051E09A-BDE4-3953-F347-32490839B40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57341273-2F80-6E09-718D-B520C679AED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3BB8C23C-032D-8CB5-3DDE-8DD6E1F454B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B7477BC6-F3E4-388A-9AA6-B796816D168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BE9B7E02-0393-C276-4E6E-A8153F0FB3C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F4737EF4-140A-1C97-0B49-20402041E27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C21E730E-8575-1F99-73E1-993456964AAB}"/>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8D448160-68C1-7D6B-6A59-4186555ABF1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B9E96BBA-25E6-F0D8-DBCE-23F840A90D7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ECF301EB-67BB-CD01-7342-71B46BFBBA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45D83D89-C3D8-7B3F-6A65-4D9AD3D69EF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45F399BB-A9AF-3892-6C5D-2F60736A8E6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9B187C2C-D329-E62F-EFE4-AF715D6F9FD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F95F2230-F234-C987-5764-7CE4809BCD1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13C68F7F-87F5-2B17-DED5-C084D4DEDC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B657F928-8E56-D5F7-26CA-6081E85CA53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F32BB5A5-19E9-1F0A-19BC-11DC49A819B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9EA336DF-BCD6-076D-61C5-992F0A08E6F1}"/>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41092A02-F0AE-A113-36F6-B8D7A135D3B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69677D51-F93D-9EFA-40AD-11A3A8AF016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C5179442-8A3E-F534-F439-A764E61113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7CDEFBA7-26FF-B254-4A13-2632B8BD9D6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DFE6FFC5-504F-89B2-5C3E-15A874A0F92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520A10B0-36FC-E5A6-955B-5E8677016D7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06D8C970-D486-851E-50C1-4388CB0B6E8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7CC19594-3BEE-376E-4CAC-150DD89E144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68903D6B-88A7-0777-F992-A60F67EAA14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FCD7980B-8516-D1EF-8E74-1835800A99F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6137673B-0091-51C1-FC89-D3D1674157BC}"/>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CB6C5281-2F9E-72E2-962A-A7ADB63082E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E9E8282B-37D6-20F7-BDC0-06B532F40AD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35BBF1FC-75B1-A215-1E86-C388061DD8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BFBC737F-5CAA-70DB-50B9-2E93FBDD516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35584366-C20B-586D-A826-4EDEA8CBB2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EA71622A-2587-51F7-8276-7F4C7ACD9F2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D43FD9BF-CD9E-A89D-9C6A-EB875161A35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F296A798-2D2B-F799-6BF1-084029467CD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88394808-3339-61B7-B979-1C387325A8F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52E7025E-AB70-6A61-67D3-5ED6C2E2A7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4" name="Rectangle 63">
            <a:extLst>
              <a:ext uri="{FF2B5EF4-FFF2-40B4-BE49-F238E27FC236}">
                <a16:creationId xmlns:a16="http://schemas.microsoft.com/office/drawing/2014/main" id="{5D5555DB-B0D8-3AC6-FFC0-A1BB735121A6}"/>
              </a:ext>
            </a:extLst>
          </p:cNvPr>
          <p:cNvSpPr/>
          <p:nvPr/>
        </p:nvSpPr>
        <p:spPr>
          <a:xfrm>
            <a:off x="605031" y="199351"/>
            <a:ext cx="4645182"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Pros &amp; Cons </a:t>
            </a: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a:t>
            </a:r>
          </a:p>
        </p:txBody>
      </p:sp>
      <p:sp>
        <p:nvSpPr>
          <p:cNvPr id="66" name="Rectangle 65">
            <a:extLst>
              <a:ext uri="{FF2B5EF4-FFF2-40B4-BE49-F238E27FC236}">
                <a16:creationId xmlns:a16="http://schemas.microsoft.com/office/drawing/2014/main" id="{A8DEEC98-1C77-C517-EDA7-F2CAA553D777}"/>
              </a:ext>
            </a:extLst>
          </p:cNvPr>
          <p:cNvSpPr/>
          <p:nvPr/>
        </p:nvSpPr>
        <p:spPr>
          <a:xfrm>
            <a:off x="1525476" y="1129134"/>
            <a:ext cx="2928302" cy="646331"/>
          </a:xfrm>
          <a:prstGeom prst="rect">
            <a:avLst/>
          </a:prstGeom>
          <a:noFill/>
        </p:spPr>
        <p:txBody>
          <a:bodyPr wrap="none" lIns="91440" tIns="45720" rIns="91440" bIns="45720">
            <a:spAutoFit/>
          </a:bodyPr>
          <a:lstStyle/>
          <a:p>
            <a:pPr algn="ctr"/>
            <a:r>
              <a:rPr lang="en-US" sz="3600" b="1" i="1" spc="50" dirty="0">
                <a:ln w="9525" cmpd="sng">
                  <a:solidFill>
                    <a:schemeClr val="accent1"/>
                  </a:solidFill>
                  <a:prstDash val="solid"/>
                </a:ln>
                <a:solidFill>
                  <a:srgbClr val="168DA5"/>
                </a:solidFill>
                <a:effectLst>
                  <a:glow rad="38100">
                    <a:schemeClr val="accent1">
                      <a:alpha val="40000"/>
                    </a:schemeClr>
                  </a:glow>
                </a:effectLst>
              </a:rPr>
              <a:t>Advantages:</a:t>
            </a:r>
          </a:p>
        </p:txBody>
      </p:sp>
      <p:sp>
        <p:nvSpPr>
          <p:cNvPr id="67" name="Rectangle 66">
            <a:extLst>
              <a:ext uri="{FF2B5EF4-FFF2-40B4-BE49-F238E27FC236}">
                <a16:creationId xmlns:a16="http://schemas.microsoft.com/office/drawing/2014/main" id="{05F0BEEF-7769-E3FA-284D-784D1F9A54EC}"/>
              </a:ext>
            </a:extLst>
          </p:cNvPr>
          <p:cNvSpPr/>
          <p:nvPr/>
        </p:nvSpPr>
        <p:spPr>
          <a:xfrm rot="10800000" flipV="1">
            <a:off x="1817567" y="2182028"/>
            <a:ext cx="7038012" cy="4031873"/>
          </a:xfrm>
          <a:prstGeom prst="rect">
            <a:avLst/>
          </a:prstGeom>
          <a:noFill/>
        </p:spPr>
        <p:txBody>
          <a:bodyPr wrap="square" lIns="91440" tIns="45720" rIns="91440" bIns="45720">
            <a:spAutoFit/>
          </a:bodyPr>
          <a:lstStyle/>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Parameter Estimation.</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Expectation-Maximization</a:t>
            </a: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Versatility.</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Efficiency</a:t>
            </a: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Adaptability to Constrained Data</a:t>
            </a:r>
          </a:p>
          <a:p>
            <a:pPr marL="457200" indent="-457200">
              <a:buFont typeface="Arial" panose="020B0604020202020204" pitchFamily="34" charset="0"/>
              <a:buChar char="•"/>
            </a:pP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Unsupervised Learnings</a:t>
            </a:r>
            <a:endPar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a:p>
            <a:pPr marL="457200" indent="-457200">
              <a:buFont typeface="Arial" panose="020B0604020202020204" pitchFamily="34" charset="0"/>
              <a:buChar char="•"/>
            </a:pPr>
            <a:endPar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pic>
        <p:nvPicPr>
          <p:cNvPr id="69" name="Picture 68">
            <a:extLst>
              <a:ext uri="{FF2B5EF4-FFF2-40B4-BE49-F238E27FC236}">
                <a16:creationId xmlns:a16="http://schemas.microsoft.com/office/drawing/2014/main" id="{9486DC30-AC86-3DA9-FC55-7D50E0DC8302}"/>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r="49244"/>
          <a:stretch/>
        </p:blipFill>
        <p:spPr>
          <a:xfrm>
            <a:off x="7840858" y="954188"/>
            <a:ext cx="3674225" cy="3124200"/>
          </a:xfrm>
          <a:prstGeom prst="rect">
            <a:avLst/>
          </a:prstGeom>
        </p:spPr>
      </p:pic>
    </p:spTree>
    <p:extLst>
      <p:ext uri="{BB962C8B-B14F-4D97-AF65-F5344CB8AC3E}">
        <p14:creationId xmlns:p14="http://schemas.microsoft.com/office/powerpoint/2010/main" val="143268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childTnLst>
                                    <p:animEffect transition="out" filter="fade">
                                      <p:cBhvr>
                                        <p:cTn id="6" dur="1000" tmFilter="0, 0; .2, .5; .8, .5; 1, 0"/>
                                        <p:tgtEl>
                                          <p:spTgt spid="69"/>
                                        </p:tgtEl>
                                      </p:cBhvr>
                                    </p:animEffect>
                                    <p:animScale>
                                      <p:cBhvr>
                                        <p:cTn id="7" dur="500" autoRev="1" fill="hold"/>
                                        <p:tgtEl>
                                          <p:spTgt spid="6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6262C"/>
        </a:solidFill>
        <a:effectLst/>
      </p:bgPr>
    </p:bg>
    <p:spTree>
      <p:nvGrpSpPr>
        <p:cNvPr id="1" name=""/>
        <p:cNvGrpSpPr/>
        <p:nvPr/>
      </p:nvGrpSpPr>
      <p:grpSpPr>
        <a:xfrm>
          <a:off x="0" y="0"/>
          <a:ext cx="0" cy="0"/>
          <a:chOff x="0" y="0"/>
          <a:chExt cx="0" cy="0"/>
        </a:xfrm>
      </p:grpSpPr>
      <p:pic>
        <p:nvPicPr>
          <p:cNvPr id="88" name="Picture 87">
            <a:extLst>
              <a:ext uri="{FF2B5EF4-FFF2-40B4-BE49-F238E27FC236}">
                <a16:creationId xmlns:a16="http://schemas.microsoft.com/office/drawing/2014/main" id="{3ED3C294-0408-F704-CF51-FAC4EBA72A7C}"/>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203169" y="-37532"/>
            <a:ext cx="12395167" cy="6972281"/>
          </a:xfrm>
          <a:prstGeom prst="rect">
            <a:avLst/>
          </a:prstGeom>
        </p:spPr>
      </p:pic>
      <p:sp>
        <p:nvSpPr>
          <p:cNvPr id="8" name="Rectangle 7">
            <a:extLst>
              <a:ext uri="{FF2B5EF4-FFF2-40B4-BE49-F238E27FC236}">
                <a16:creationId xmlns:a16="http://schemas.microsoft.com/office/drawing/2014/main" id="{D43FF071-1041-2C6D-2D4D-33D484A6492F}"/>
              </a:ext>
            </a:extLst>
          </p:cNvPr>
          <p:cNvSpPr/>
          <p:nvPr/>
        </p:nvSpPr>
        <p:spPr>
          <a:xfrm>
            <a:off x="-187912" y="-37531"/>
            <a:ext cx="12395167" cy="6957176"/>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hape">
            <a:extLst>
              <a:ext uri="{FF2B5EF4-FFF2-40B4-BE49-F238E27FC236}">
                <a16:creationId xmlns:a16="http://schemas.microsoft.com/office/drawing/2014/main" id="{D7EA44FC-7E2D-A44B-9C91-9D48430A8DE2}"/>
              </a:ext>
            </a:extLst>
          </p:cNvPr>
          <p:cNvSpPr/>
          <p:nvPr/>
        </p:nvSpPr>
        <p:spPr>
          <a:xfrm>
            <a:off x="-187912" y="591968"/>
            <a:ext cx="12379913" cy="474455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8260" y="0"/>
                </a:lnTo>
                <a:lnTo>
                  <a:pt x="15269" y="13337"/>
                </a:lnTo>
                <a:lnTo>
                  <a:pt x="21600" y="13337"/>
                </a:lnTo>
                <a:lnTo>
                  <a:pt x="21600" y="21600"/>
                </a:lnTo>
                <a:lnTo>
                  <a:pt x="0" y="21600"/>
                </a:lnTo>
                <a:close/>
              </a:path>
            </a:pathLst>
          </a:custGeom>
          <a:solidFill>
            <a:srgbClr val="168DA5"/>
          </a:solidFill>
          <a:ln w="12700">
            <a:miter lim="400000"/>
          </a:ln>
        </p:spPr>
        <p:txBody>
          <a:bodyPr lIns="38100" tIns="38100" rIns="38100" bIns="38100" anchor="ctr"/>
          <a:lstStyle/>
          <a:p>
            <a:pPr defTabSz="457200">
              <a:defRPr sz="3000">
                <a:solidFill>
                  <a:srgbClr val="FFFFFF"/>
                </a:solidFill>
              </a:defRPr>
            </a:pPr>
            <a:endParaRPr sz="3000" dirty="0">
              <a:solidFill>
                <a:srgbClr val="FFFFFF"/>
              </a:solidFill>
              <a:latin typeface="Calibri" panose="020F0502020204030204"/>
            </a:endParaRPr>
          </a:p>
        </p:txBody>
      </p:sp>
      <p:sp>
        <p:nvSpPr>
          <p:cNvPr id="6" name="Shape">
            <a:extLst>
              <a:ext uri="{FF2B5EF4-FFF2-40B4-BE49-F238E27FC236}">
                <a16:creationId xmlns:a16="http://schemas.microsoft.com/office/drawing/2014/main" id="{4AF9428D-2D65-E375-920B-50B3B2C57597}"/>
              </a:ext>
            </a:extLst>
          </p:cNvPr>
          <p:cNvSpPr/>
          <p:nvPr/>
        </p:nvSpPr>
        <p:spPr>
          <a:xfrm>
            <a:off x="-218426" y="-172119"/>
            <a:ext cx="7887762" cy="7091765"/>
          </a:xfrm>
          <a:custGeom>
            <a:avLst/>
            <a:gdLst>
              <a:gd name="connsiteX0" fmla="*/ 2009 w 21591"/>
              <a:gd name="connsiteY0" fmla="*/ 0 h 21600"/>
              <a:gd name="connsiteX1" fmla="*/ 21591 w 21591"/>
              <a:gd name="connsiteY1" fmla="*/ 16811 h 21600"/>
              <a:gd name="connsiteX2" fmla="*/ 16097 w 21591"/>
              <a:gd name="connsiteY2" fmla="*/ 21600 h 21600"/>
              <a:gd name="connsiteX3" fmla="*/ 0 w 21591"/>
              <a:gd name="connsiteY3" fmla="*/ 21600 h 21600"/>
              <a:gd name="connsiteX4" fmla="*/ 0 w 21591"/>
              <a:gd name="connsiteY4" fmla="*/ 0 h 21600"/>
              <a:gd name="connsiteX5" fmla="*/ 2009 w 21591"/>
              <a:gd name="connsiteY5"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1" h="21600" extrusionOk="0">
                <a:moveTo>
                  <a:pt x="2009" y="0"/>
                </a:moveTo>
                <a:lnTo>
                  <a:pt x="21591" y="16811"/>
                </a:lnTo>
                <a:lnTo>
                  <a:pt x="16097" y="21600"/>
                </a:lnTo>
                <a:lnTo>
                  <a:pt x="0" y="21600"/>
                </a:lnTo>
                <a:lnTo>
                  <a:pt x="0" y="0"/>
                </a:lnTo>
                <a:lnTo>
                  <a:pt x="2009" y="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a:defRPr sz="3000">
                <a:solidFill>
                  <a:srgbClr val="FFFFFF"/>
                </a:solidFill>
              </a:defRPr>
            </a:pPr>
            <a:endParaRPr dirty="0"/>
          </a:p>
        </p:txBody>
      </p:sp>
      <p:sp>
        <p:nvSpPr>
          <p:cNvPr id="2" name="Title 1">
            <a:extLst>
              <a:ext uri="{FF2B5EF4-FFF2-40B4-BE49-F238E27FC236}">
                <a16:creationId xmlns:a16="http://schemas.microsoft.com/office/drawing/2014/main" id="{3159D879-5D43-49ED-97E1-B5D8DE30A622}"/>
              </a:ext>
            </a:extLst>
          </p:cNvPr>
          <p:cNvSpPr>
            <a:spLocks noGrp="1"/>
          </p:cNvSpPr>
          <p:nvPr>
            <p:ph type="ctrTitle"/>
          </p:nvPr>
        </p:nvSpPr>
        <p:spPr>
          <a:xfrm>
            <a:off x="37215" y="3161614"/>
            <a:ext cx="8147487" cy="1587062"/>
          </a:xfrm>
        </p:spPr>
        <p:txBody>
          <a:bodyPr>
            <a:normAutofit fontScale="90000"/>
          </a:bodyPr>
          <a:lstStyle/>
          <a:p>
            <a:pPr>
              <a:lnSpc>
                <a:spcPct val="100000"/>
              </a:lnSpc>
            </a:pPr>
            <a:r>
              <a:rPr lang="en-US" b="1" i="1" dirty="0">
                <a:latin typeface="Segoe UI" panose="020B0502040204020203" pitchFamily="34" charset="0"/>
                <a:cs typeface="Segoe UI" panose="020B0502040204020203" pitchFamily="34" charset="0"/>
              </a:rPr>
              <a:t>Baum Welch Algorithm </a:t>
            </a:r>
            <a:r>
              <a:rPr lang="en-US" sz="4400" i="1" dirty="0">
                <a:latin typeface="Segoe UI Light" panose="020B0502040204020203" pitchFamily="34" charset="0"/>
                <a:cs typeface="Segoe UI" panose="020B0502040204020203" pitchFamily="34" charset="0"/>
              </a:rPr>
              <a:t>Hidden Markov Models</a:t>
            </a:r>
          </a:p>
        </p:txBody>
      </p:sp>
      <p:sp>
        <p:nvSpPr>
          <p:cNvPr id="3" name="Subtitle 2">
            <a:extLst>
              <a:ext uri="{FF2B5EF4-FFF2-40B4-BE49-F238E27FC236}">
                <a16:creationId xmlns:a16="http://schemas.microsoft.com/office/drawing/2014/main" id="{B1419F5F-CE7D-4FAF-AE1D-26E8D61FF104}"/>
              </a:ext>
            </a:extLst>
          </p:cNvPr>
          <p:cNvSpPr>
            <a:spLocks noGrp="1"/>
          </p:cNvSpPr>
          <p:nvPr>
            <p:ph type="subTitle" idx="1"/>
          </p:nvPr>
        </p:nvSpPr>
        <p:spPr>
          <a:xfrm>
            <a:off x="192053" y="4902698"/>
            <a:ext cx="5035958" cy="1456425"/>
          </a:xfrm>
        </p:spPr>
        <p:txBody>
          <a:bodyPr>
            <a:normAutofit/>
          </a:bodyPr>
          <a:lstStyle/>
          <a:p>
            <a:pPr>
              <a:lnSpc>
                <a:spcPct val="100000"/>
              </a:lnSpc>
            </a:pPr>
            <a:r>
              <a:rPr lang="en-US" sz="2000" dirty="0">
                <a:latin typeface="Bahnschrift SemiBold Condensed" panose="020B0502040204020203" pitchFamily="34" charset="0"/>
              </a:rPr>
              <a:t>Course: Stochastic Processes</a:t>
            </a:r>
          </a:p>
          <a:p>
            <a:pPr>
              <a:lnSpc>
                <a:spcPct val="100000"/>
              </a:lnSpc>
            </a:pPr>
            <a:r>
              <a:rPr lang="en-US" sz="2000" dirty="0">
                <a:latin typeface="Bahnschrift SemiBold Condensed" panose="020B0502040204020203" pitchFamily="34" charset="0"/>
              </a:rPr>
              <a:t>DR\ Amr Ameen</a:t>
            </a:r>
          </a:p>
        </p:txBody>
      </p:sp>
      <p:sp>
        <p:nvSpPr>
          <p:cNvPr id="9" name="Shape">
            <a:extLst>
              <a:ext uri="{FF2B5EF4-FFF2-40B4-BE49-F238E27FC236}">
                <a16:creationId xmlns:a16="http://schemas.microsoft.com/office/drawing/2014/main" id="{CE45E99D-05B6-4FA2-910A-F435FCACB6B9}"/>
              </a:ext>
            </a:extLst>
          </p:cNvPr>
          <p:cNvSpPr/>
          <p:nvPr/>
        </p:nvSpPr>
        <p:spPr>
          <a:xfrm>
            <a:off x="9800488" y="0"/>
            <a:ext cx="1944123" cy="1498809"/>
          </a:xfrm>
          <a:custGeom>
            <a:avLst/>
            <a:gdLst/>
            <a:ahLst/>
            <a:cxnLst>
              <a:cxn ang="0">
                <a:pos x="wd2" y="hd2"/>
              </a:cxn>
              <a:cxn ang="5400000">
                <a:pos x="wd2" y="hd2"/>
              </a:cxn>
              <a:cxn ang="10800000">
                <a:pos x="wd2" y="hd2"/>
              </a:cxn>
              <a:cxn ang="16200000">
                <a:pos x="wd2" y="hd2"/>
              </a:cxn>
            </a:cxnLst>
            <a:rect l="0" t="0" r="r" b="b"/>
            <a:pathLst>
              <a:path w="21600" h="21600" extrusionOk="0">
                <a:moveTo>
                  <a:pt x="4734" y="0"/>
                </a:moveTo>
                <a:lnTo>
                  <a:pt x="0" y="0"/>
                </a:lnTo>
                <a:lnTo>
                  <a:pt x="16866" y="21600"/>
                </a:lnTo>
                <a:lnTo>
                  <a:pt x="21600" y="2160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miter lim="400000"/>
          </a:ln>
        </p:spPr>
        <p:txBody>
          <a:bodyPr lIns="38100" tIns="38100" rIns="38100" bIns="38100" anchor="ctr"/>
          <a:lstStyle/>
          <a:p>
            <a:pPr defTabSz="457200"/>
            <a:endParaRPr sz="3000" dirty="0">
              <a:solidFill>
                <a:srgbClr val="FFFFFF"/>
              </a:solidFill>
              <a:latin typeface="Calibri" panose="020F0502020204030204"/>
            </a:endParaRPr>
          </a:p>
        </p:txBody>
      </p:sp>
      <p:grpSp>
        <p:nvGrpSpPr>
          <p:cNvPr id="314" name="Group 313">
            <a:extLst>
              <a:ext uri="{FF2B5EF4-FFF2-40B4-BE49-F238E27FC236}">
                <a16:creationId xmlns:a16="http://schemas.microsoft.com/office/drawing/2014/main" id="{A8E5495E-C005-28DC-5BCB-4F96FE4D3776}"/>
              </a:ext>
            </a:extLst>
          </p:cNvPr>
          <p:cNvGrpSpPr/>
          <p:nvPr/>
        </p:nvGrpSpPr>
        <p:grpSpPr>
          <a:xfrm rot="10800000" flipV="1">
            <a:off x="10364794" y="2526434"/>
            <a:ext cx="1729654" cy="848268"/>
            <a:chOff x="233739" y="283295"/>
            <a:chExt cx="1729654" cy="848268"/>
          </a:xfrm>
          <a:gradFill>
            <a:gsLst>
              <a:gs pos="0">
                <a:srgbClr val="D8D9D8"/>
              </a:gs>
              <a:gs pos="100000">
                <a:srgbClr val="000000">
                  <a:alpha val="0"/>
                </a:srgbClr>
              </a:gs>
            </a:gsLst>
            <a:lin ang="0" scaled="1"/>
          </a:gradFill>
        </p:grpSpPr>
        <p:grpSp>
          <p:nvGrpSpPr>
            <p:cNvPr id="315" name="Group 314">
              <a:extLst>
                <a:ext uri="{FF2B5EF4-FFF2-40B4-BE49-F238E27FC236}">
                  <a16:creationId xmlns:a16="http://schemas.microsoft.com/office/drawing/2014/main" id="{13D03F05-4199-198D-3258-95433F80F9B7}"/>
                </a:ext>
              </a:extLst>
            </p:cNvPr>
            <p:cNvGrpSpPr/>
            <p:nvPr/>
          </p:nvGrpSpPr>
          <p:grpSpPr>
            <a:xfrm rot="5400000">
              <a:off x="1055270" y="-538236"/>
              <a:ext cx="86591" cy="1729654"/>
              <a:chOff x="85292" y="59892"/>
              <a:chExt cx="86591" cy="1729654"/>
            </a:xfrm>
            <a:grpFill/>
          </p:grpSpPr>
          <p:sp>
            <p:nvSpPr>
              <p:cNvPr id="349" name="Oval 348">
                <a:extLst>
                  <a:ext uri="{FF2B5EF4-FFF2-40B4-BE49-F238E27FC236}">
                    <a16:creationId xmlns:a16="http://schemas.microsoft.com/office/drawing/2014/main" id="{EFB34C3C-87C2-4B0B-9895-019D1D4563E6}"/>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0" name="Oval 349">
                <a:extLst>
                  <a:ext uri="{FF2B5EF4-FFF2-40B4-BE49-F238E27FC236}">
                    <a16:creationId xmlns:a16="http://schemas.microsoft.com/office/drawing/2014/main" id="{2D7EFF40-653B-3CDD-8E37-E81BAEE0FDEF}"/>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1" name="Oval 350">
                <a:extLst>
                  <a:ext uri="{FF2B5EF4-FFF2-40B4-BE49-F238E27FC236}">
                    <a16:creationId xmlns:a16="http://schemas.microsoft.com/office/drawing/2014/main" id="{75213779-DA0F-406E-2957-242A7239CA51}"/>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2" name="Oval 351">
                <a:extLst>
                  <a:ext uri="{FF2B5EF4-FFF2-40B4-BE49-F238E27FC236}">
                    <a16:creationId xmlns:a16="http://schemas.microsoft.com/office/drawing/2014/main" id="{D74CA809-93F5-E975-77D1-8EB65C6A2547}"/>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3" name="Oval 352">
                <a:extLst>
                  <a:ext uri="{FF2B5EF4-FFF2-40B4-BE49-F238E27FC236}">
                    <a16:creationId xmlns:a16="http://schemas.microsoft.com/office/drawing/2014/main" id="{A94AB793-3261-0A24-D9DC-CFA2EFDB3B47}"/>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4" name="Oval 353">
                <a:extLst>
                  <a:ext uri="{FF2B5EF4-FFF2-40B4-BE49-F238E27FC236}">
                    <a16:creationId xmlns:a16="http://schemas.microsoft.com/office/drawing/2014/main" id="{D1982229-B222-6700-11C2-9DD058741AA2}"/>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5" name="Oval 354">
                <a:extLst>
                  <a:ext uri="{FF2B5EF4-FFF2-40B4-BE49-F238E27FC236}">
                    <a16:creationId xmlns:a16="http://schemas.microsoft.com/office/drawing/2014/main" id="{F9B105A6-ECA3-89DB-D091-8999BBCE0243}"/>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6" name="Oval 355">
                <a:extLst>
                  <a:ext uri="{FF2B5EF4-FFF2-40B4-BE49-F238E27FC236}">
                    <a16:creationId xmlns:a16="http://schemas.microsoft.com/office/drawing/2014/main" id="{32ABC9FF-ADEB-0930-975A-86DD3B85883D}"/>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7" name="Oval 356">
                <a:extLst>
                  <a:ext uri="{FF2B5EF4-FFF2-40B4-BE49-F238E27FC236}">
                    <a16:creationId xmlns:a16="http://schemas.microsoft.com/office/drawing/2014/main" id="{80BED04E-CFBB-AED0-24D3-B2B520026D67}"/>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58" name="Oval 357">
                <a:extLst>
                  <a:ext uri="{FF2B5EF4-FFF2-40B4-BE49-F238E27FC236}">
                    <a16:creationId xmlns:a16="http://schemas.microsoft.com/office/drawing/2014/main" id="{D1F0C70F-5645-06C0-6131-A2944DC52CBB}"/>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16" name="Group 315">
              <a:extLst>
                <a:ext uri="{FF2B5EF4-FFF2-40B4-BE49-F238E27FC236}">
                  <a16:creationId xmlns:a16="http://schemas.microsoft.com/office/drawing/2014/main" id="{947A5396-A35F-086A-6BC3-03F75F88E340}"/>
                </a:ext>
              </a:extLst>
            </p:cNvPr>
            <p:cNvGrpSpPr/>
            <p:nvPr/>
          </p:nvGrpSpPr>
          <p:grpSpPr>
            <a:xfrm rot="5400000">
              <a:off x="1055270" y="-284344"/>
              <a:ext cx="86591" cy="1729654"/>
              <a:chOff x="85292" y="59892"/>
              <a:chExt cx="86591" cy="1729654"/>
            </a:xfrm>
            <a:grpFill/>
          </p:grpSpPr>
          <p:sp>
            <p:nvSpPr>
              <p:cNvPr id="339" name="Oval 338">
                <a:extLst>
                  <a:ext uri="{FF2B5EF4-FFF2-40B4-BE49-F238E27FC236}">
                    <a16:creationId xmlns:a16="http://schemas.microsoft.com/office/drawing/2014/main" id="{51C216CF-FD9F-2EBD-D2BA-E6BFDF119297}"/>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0" name="Oval 339">
                <a:extLst>
                  <a:ext uri="{FF2B5EF4-FFF2-40B4-BE49-F238E27FC236}">
                    <a16:creationId xmlns:a16="http://schemas.microsoft.com/office/drawing/2014/main" id="{FE4E5B6D-CF80-2336-7D83-5D09E8697652}"/>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1" name="Oval 340">
                <a:extLst>
                  <a:ext uri="{FF2B5EF4-FFF2-40B4-BE49-F238E27FC236}">
                    <a16:creationId xmlns:a16="http://schemas.microsoft.com/office/drawing/2014/main" id="{5A72F91D-96E4-B131-0375-0EFA9B588C97}"/>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2" name="Oval 341">
                <a:extLst>
                  <a:ext uri="{FF2B5EF4-FFF2-40B4-BE49-F238E27FC236}">
                    <a16:creationId xmlns:a16="http://schemas.microsoft.com/office/drawing/2014/main" id="{330504DE-2565-FE8B-86C1-5173B8F59BB2}"/>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3" name="Oval 342">
                <a:extLst>
                  <a:ext uri="{FF2B5EF4-FFF2-40B4-BE49-F238E27FC236}">
                    <a16:creationId xmlns:a16="http://schemas.microsoft.com/office/drawing/2014/main" id="{62AB3CE7-C9DE-5FB6-767C-F943A5288C67}"/>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4" name="Oval 343">
                <a:extLst>
                  <a:ext uri="{FF2B5EF4-FFF2-40B4-BE49-F238E27FC236}">
                    <a16:creationId xmlns:a16="http://schemas.microsoft.com/office/drawing/2014/main" id="{9C1B5030-69B9-48C6-E4F3-DE02E3EEF208}"/>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5" name="Oval 344">
                <a:extLst>
                  <a:ext uri="{FF2B5EF4-FFF2-40B4-BE49-F238E27FC236}">
                    <a16:creationId xmlns:a16="http://schemas.microsoft.com/office/drawing/2014/main" id="{A23258D6-EE1E-CAAD-DAB7-2FBC7FA32575}"/>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6" name="Oval 345">
                <a:extLst>
                  <a:ext uri="{FF2B5EF4-FFF2-40B4-BE49-F238E27FC236}">
                    <a16:creationId xmlns:a16="http://schemas.microsoft.com/office/drawing/2014/main" id="{FA971738-3666-3950-1BB9-504BA4496FAF}"/>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7" name="Oval 346">
                <a:extLst>
                  <a:ext uri="{FF2B5EF4-FFF2-40B4-BE49-F238E27FC236}">
                    <a16:creationId xmlns:a16="http://schemas.microsoft.com/office/drawing/2014/main" id="{C750E9F4-D41C-C05B-27EC-FBD4C831EC98}"/>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48" name="Oval 347">
                <a:extLst>
                  <a:ext uri="{FF2B5EF4-FFF2-40B4-BE49-F238E27FC236}">
                    <a16:creationId xmlns:a16="http://schemas.microsoft.com/office/drawing/2014/main" id="{E9B7572E-57F4-81B5-FBCC-6FA9895D0426}"/>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17" name="Group 316">
              <a:extLst>
                <a:ext uri="{FF2B5EF4-FFF2-40B4-BE49-F238E27FC236}">
                  <a16:creationId xmlns:a16="http://schemas.microsoft.com/office/drawing/2014/main" id="{63174C48-C114-2F1B-F108-778587C3B465}"/>
                </a:ext>
              </a:extLst>
            </p:cNvPr>
            <p:cNvGrpSpPr/>
            <p:nvPr/>
          </p:nvGrpSpPr>
          <p:grpSpPr>
            <a:xfrm rot="5400000">
              <a:off x="1055270" y="-30452"/>
              <a:ext cx="86591" cy="1729654"/>
              <a:chOff x="85292" y="59892"/>
              <a:chExt cx="86591" cy="1729654"/>
            </a:xfrm>
            <a:grpFill/>
          </p:grpSpPr>
          <p:sp>
            <p:nvSpPr>
              <p:cNvPr id="329" name="Oval 328">
                <a:extLst>
                  <a:ext uri="{FF2B5EF4-FFF2-40B4-BE49-F238E27FC236}">
                    <a16:creationId xmlns:a16="http://schemas.microsoft.com/office/drawing/2014/main" id="{7D23B507-BA74-92C7-0969-38E2D3A16EE1}"/>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0" name="Oval 329">
                <a:extLst>
                  <a:ext uri="{FF2B5EF4-FFF2-40B4-BE49-F238E27FC236}">
                    <a16:creationId xmlns:a16="http://schemas.microsoft.com/office/drawing/2014/main" id="{EFF56CB0-A4A2-49A2-1ECA-815ADE153B65}"/>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1" name="Oval 330">
                <a:extLst>
                  <a:ext uri="{FF2B5EF4-FFF2-40B4-BE49-F238E27FC236}">
                    <a16:creationId xmlns:a16="http://schemas.microsoft.com/office/drawing/2014/main" id="{F18A9272-127F-8D28-28FD-0BF36745380E}"/>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2" name="Oval 331">
                <a:extLst>
                  <a:ext uri="{FF2B5EF4-FFF2-40B4-BE49-F238E27FC236}">
                    <a16:creationId xmlns:a16="http://schemas.microsoft.com/office/drawing/2014/main" id="{48EA0963-5D9E-9C1F-592C-48AED820984F}"/>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3" name="Oval 332">
                <a:extLst>
                  <a:ext uri="{FF2B5EF4-FFF2-40B4-BE49-F238E27FC236}">
                    <a16:creationId xmlns:a16="http://schemas.microsoft.com/office/drawing/2014/main" id="{12E56B83-CB86-35DF-A039-ABD32CB05EFA}"/>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4" name="Oval 333">
                <a:extLst>
                  <a:ext uri="{FF2B5EF4-FFF2-40B4-BE49-F238E27FC236}">
                    <a16:creationId xmlns:a16="http://schemas.microsoft.com/office/drawing/2014/main" id="{C51E5877-05DD-EE98-6118-EA53F0B4B0AE}"/>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5" name="Oval 334">
                <a:extLst>
                  <a:ext uri="{FF2B5EF4-FFF2-40B4-BE49-F238E27FC236}">
                    <a16:creationId xmlns:a16="http://schemas.microsoft.com/office/drawing/2014/main" id="{E4C699A7-09D6-B077-4C11-99B307D0A7A7}"/>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6" name="Oval 335">
                <a:extLst>
                  <a:ext uri="{FF2B5EF4-FFF2-40B4-BE49-F238E27FC236}">
                    <a16:creationId xmlns:a16="http://schemas.microsoft.com/office/drawing/2014/main" id="{1A0D89BD-4596-7146-EED1-CCA6E93908ED}"/>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7" name="Oval 336">
                <a:extLst>
                  <a:ext uri="{FF2B5EF4-FFF2-40B4-BE49-F238E27FC236}">
                    <a16:creationId xmlns:a16="http://schemas.microsoft.com/office/drawing/2014/main" id="{1211F544-20EC-E76C-4AC5-664A4006B02D}"/>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8" name="Oval 337">
                <a:extLst>
                  <a:ext uri="{FF2B5EF4-FFF2-40B4-BE49-F238E27FC236}">
                    <a16:creationId xmlns:a16="http://schemas.microsoft.com/office/drawing/2014/main" id="{D4BFA089-1F86-9FB1-3344-FC668E8FEC3A}"/>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18" name="Group 317">
              <a:extLst>
                <a:ext uri="{FF2B5EF4-FFF2-40B4-BE49-F238E27FC236}">
                  <a16:creationId xmlns:a16="http://schemas.microsoft.com/office/drawing/2014/main" id="{B037B086-CED7-08CF-CE5F-89D52A1C89A1}"/>
                </a:ext>
              </a:extLst>
            </p:cNvPr>
            <p:cNvGrpSpPr/>
            <p:nvPr/>
          </p:nvGrpSpPr>
          <p:grpSpPr>
            <a:xfrm rot="5400000">
              <a:off x="1055270" y="223441"/>
              <a:ext cx="86591" cy="1729654"/>
              <a:chOff x="85292" y="59892"/>
              <a:chExt cx="86591" cy="1729654"/>
            </a:xfrm>
            <a:grpFill/>
          </p:grpSpPr>
          <p:sp>
            <p:nvSpPr>
              <p:cNvPr id="319" name="Oval 318">
                <a:extLst>
                  <a:ext uri="{FF2B5EF4-FFF2-40B4-BE49-F238E27FC236}">
                    <a16:creationId xmlns:a16="http://schemas.microsoft.com/office/drawing/2014/main" id="{EF82F454-EDBD-93DA-B84D-60ADE9B16E20}"/>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0" name="Oval 319">
                <a:extLst>
                  <a:ext uri="{FF2B5EF4-FFF2-40B4-BE49-F238E27FC236}">
                    <a16:creationId xmlns:a16="http://schemas.microsoft.com/office/drawing/2014/main" id="{31E567B3-8AD8-866F-2F16-3D2F9DD7C008}"/>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1" name="Oval 320">
                <a:extLst>
                  <a:ext uri="{FF2B5EF4-FFF2-40B4-BE49-F238E27FC236}">
                    <a16:creationId xmlns:a16="http://schemas.microsoft.com/office/drawing/2014/main" id="{349F0B39-97F7-9578-86AE-06F0E8038701}"/>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2" name="Oval 321">
                <a:extLst>
                  <a:ext uri="{FF2B5EF4-FFF2-40B4-BE49-F238E27FC236}">
                    <a16:creationId xmlns:a16="http://schemas.microsoft.com/office/drawing/2014/main" id="{140C23D6-BFCF-6861-FA05-1C14B4A0BDE0}"/>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3" name="Oval 322">
                <a:extLst>
                  <a:ext uri="{FF2B5EF4-FFF2-40B4-BE49-F238E27FC236}">
                    <a16:creationId xmlns:a16="http://schemas.microsoft.com/office/drawing/2014/main" id="{EA819A55-AD39-B5B7-033C-F91890F0C9DE}"/>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4" name="Oval 323">
                <a:extLst>
                  <a:ext uri="{FF2B5EF4-FFF2-40B4-BE49-F238E27FC236}">
                    <a16:creationId xmlns:a16="http://schemas.microsoft.com/office/drawing/2014/main" id="{D2E8E79F-C89E-AAD4-24AB-88A0C38E6105}"/>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5" name="Oval 324">
                <a:extLst>
                  <a:ext uri="{FF2B5EF4-FFF2-40B4-BE49-F238E27FC236}">
                    <a16:creationId xmlns:a16="http://schemas.microsoft.com/office/drawing/2014/main" id="{4371D908-AA67-6445-08C2-7E6FF9BFE9AC}"/>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6" name="Oval 325">
                <a:extLst>
                  <a:ext uri="{FF2B5EF4-FFF2-40B4-BE49-F238E27FC236}">
                    <a16:creationId xmlns:a16="http://schemas.microsoft.com/office/drawing/2014/main" id="{3235D1A4-6C05-1BB7-457C-C959570F26DF}"/>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7" name="Oval 326">
                <a:extLst>
                  <a:ext uri="{FF2B5EF4-FFF2-40B4-BE49-F238E27FC236}">
                    <a16:creationId xmlns:a16="http://schemas.microsoft.com/office/drawing/2014/main" id="{5A3550D8-293A-E298-0BBC-ABAEF60DD929}"/>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8" name="Oval 327">
                <a:extLst>
                  <a:ext uri="{FF2B5EF4-FFF2-40B4-BE49-F238E27FC236}">
                    <a16:creationId xmlns:a16="http://schemas.microsoft.com/office/drawing/2014/main" id="{0823DE04-F1BE-5714-634D-3E513A668769}"/>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10" name="Shape">
            <a:extLst>
              <a:ext uri="{FF2B5EF4-FFF2-40B4-BE49-F238E27FC236}">
                <a16:creationId xmlns:a16="http://schemas.microsoft.com/office/drawing/2014/main" id="{71AD5B74-7EDE-47A1-B6A4-527DD9DBE3BD}"/>
              </a:ext>
            </a:extLst>
          </p:cNvPr>
          <p:cNvSpPr/>
          <p:nvPr/>
        </p:nvSpPr>
        <p:spPr>
          <a:xfrm>
            <a:off x="10121529" y="0"/>
            <a:ext cx="2076789" cy="2050470"/>
          </a:xfrm>
          <a:custGeom>
            <a:avLst/>
            <a:gdLst/>
            <a:ahLst/>
            <a:cxnLst>
              <a:cxn ang="0">
                <a:pos x="wd2" y="hd2"/>
              </a:cxn>
              <a:cxn ang="5400000">
                <a:pos x="wd2" y="hd2"/>
              </a:cxn>
              <a:cxn ang="10800000">
                <a:pos x="wd2" y="hd2"/>
              </a:cxn>
              <a:cxn ang="16200000">
                <a:pos x="wd2" y="hd2"/>
              </a:cxn>
            </a:cxnLst>
            <a:rect l="0" t="0" r="r" b="b"/>
            <a:pathLst>
              <a:path w="21600" h="21600" extrusionOk="0">
                <a:moveTo>
                  <a:pt x="4431" y="0"/>
                </a:moveTo>
                <a:lnTo>
                  <a:pt x="0" y="0"/>
                </a:lnTo>
                <a:lnTo>
                  <a:pt x="21600" y="21600"/>
                </a:lnTo>
                <a:lnTo>
                  <a:pt x="21600" y="17155"/>
                </a:lnTo>
                <a:close/>
              </a:path>
            </a:pathLst>
          </a:custGeom>
          <a:solidFill>
            <a:srgbClr val="168DA5"/>
          </a:solidFill>
          <a:ln w="12700">
            <a:miter lim="400000"/>
          </a:ln>
        </p:spPr>
        <p:txBody>
          <a:bodyPr lIns="38100" tIns="38100" rIns="38100" bIns="38100" anchor="ctr"/>
          <a:lstStyle/>
          <a:p>
            <a:pPr defTabSz="457200"/>
            <a:endParaRPr sz="3000" dirty="0">
              <a:solidFill>
                <a:srgbClr val="FFFFFF"/>
              </a:solidFill>
              <a:latin typeface="Calibri" panose="020F0502020204030204"/>
            </a:endParaRPr>
          </a:p>
        </p:txBody>
      </p:sp>
      <p:grpSp>
        <p:nvGrpSpPr>
          <p:cNvPr id="11" name="Google Shape;259;p34">
            <a:extLst>
              <a:ext uri="{FF2B5EF4-FFF2-40B4-BE49-F238E27FC236}">
                <a16:creationId xmlns:a16="http://schemas.microsoft.com/office/drawing/2014/main" id="{AC9F11A2-CEFB-EB5A-243E-5A7CFA8AC0AA}"/>
              </a:ext>
            </a:extLst>
          </p:cNvPr>
          <p:cNvGrpSpPr/>
          <p:nvPr/>
        </p:nvGrpSpPr>
        <p:grpSpPr>
          <a:xfrm>
            <a:off x="6800007" y="0"/>
            <a:ext cx="5354778" cy="6820469"/>
            <a:chOff x="5138089" y="757530"/>
            <a:chExt cx="3605745" cy="3762679"/>
          </a:xfrm>
          <a:gradFill flip="none" rotWithShape="1">
            <a:gsLst>
              <a:gs pos="0">
                <a:schemeClr val="bg2">
                  <a:lumMod val="0"/>
                </a:schemeClr>
              </a:gs>
              <a:gs pos="100000">
                <a:schemeClr val="bg2">
                  <a:lumMod val="90000"/>
                </a:schemeClr>
              </a:gs>
              <a:gs pos="37000">
                <a:schemeClr val="bg1">
                  <a:lumMod val="95000"/>
                </a:schemeClr>
              </a:gs>
              <a:gs pos="67000">
                <a:srgbClr val="168DA5"/>
              </a:gs>
            </a:gsLst>
            <a:path path="circle">
              <a:fillToRect l="100000" t="100000"/>
            </a:path>
            <a:tileRect r="-100000" b="-100000"/>
          </a:gradFill>
        </p:grpSpPr>
        <p:sp>
          <p:nvSpPr>
            <p:cNvPr id="12" name="Google Shape;260;p34">
              <a:extLst>
                <a:ext uri="{FF2B5EF4-FFF2-40B4-BE49-F238E27FC236}">
                  <a16:creationId xmlns:a16="http://schemas.microsoft.com/office/drawing/2014/main" id="{62B7AB89-F6E0-4F4C-605B-2F3F6418D46C}"/>
                </a:ext>
              </a:extLst>
            </p:cNvPr>
            <p:cNvSpPr/>
            <p:nvPr/>
          </p:nvSpPr>
          <p:spPr>
            <a:xfrm rot="7198710">
              <a:off x="6604948" y="1367176"/>
              <a:ext cx="630918" cy="627700"/>
            </a:xfrm>
            <a:custGeom>
              <a:avLst/>
              <a:gdLst/>
              <a:ahLst/>
              <a:cxnLst/>
              <a:rect l="l" t="t" r="r" b="b"/>
              <a:pathLst>
                <a:path w="207404" h="206346" extrusionOk="0">
                  <a:moveTo>
                    <a:pt x="103944" y="65896"/>
                  </a:moveTo>
                  <a:cubicBezTo>
                    <a:pt x="114099" y="65896"/>
                    <a:pt x="124406" y="70041"/>
                    <a:pt x="132114" y="79198"/>
                  </a:cubicBezTo>
                  <a:cubicBezTo>
                    <a:pt x="145426" y="94943"/>
                    <a:pt x="143422" y="118417"/>
                    <a:pt x="127677" y="131728"/>
                  </a:cubicBezTo>
                  <a:lnTo>
                    <a:pt x="127677" y="131585"/>
                  </a:lnTo>
                  <a:cubicBezTo>
                    <a:pt x="120415" y="137698"/>
                    <a:pt x="112071" y="140425"/>
                    <a:pt x="103930" y="140425"/>
                  </a:cubicBezTo>
                  <a:cubicBezTo>
                    <a:pt x="83668" y="140425"/>
                    <a:pt x="64659" y="123539"/>
                    <a:pt x="66701" y="99952"/>
                  </a:cubicBezTo>
                  <a:cubicBezTo>
                    <a:pt x="68530" y="78838"/>
                    <a:pt x="86000" y="65896"/>
                    <a:pt x="103944" y="65896"/>
                  </a:cubicBezTo>
                  <a:close/>
                  <a:moveTo>
                    <a:pt x="102774" y="1"/>
                  </a:moveTo>
                  <a:cubicBezTo>
                    <a:pt x="96620" y="1"/>
                    <a:pt x="91449" y="4960"/>
                    <a:pt x="91178" y="11209"/>
                  </a:cubicBezTo>
                  <a:lnTo>
                    <a:pt x="90891" y="17507"/>
                  </a:lnTo>
                  <a:cubicBezTo>
                    <a:pt x="90748" y="22516"/>
                    <a:pt x="87456" y="26810"/>
                    <a:pt x="82589" y="28242"/>
                  </a:cubicBezTo>
                  <a:cubicBezTo>
                    <a:pt x="81015" y="28671"/>
                    <a:pt x="79297" y="29244"/>
                    <a:pt x="77723" y="29816"/>
                  </a:cubicBezTo>
                  <a:cubicBezTo>
                    <a:pt x="76506" y="30222"/>
                    <a:pt x="75252" y="30418"/>
                    <a:pt x="74008" y="30418"/>
                  </a:cubicBezTo>
                  <a:cubicBezTo>
                    <a:pt x="70424" y="30418"/>
                    <a:pt x="66929" y="28784"/>
                    <a:pt x="64698" y="25808"/>
                  </a:cubicBezTo>
                  <a:lnTo>
                    <a:pt x="60976" y="20799"/>
                  </a:lnTo>
                  <a:cubicBezTo>
                    <a:pt x="58608" y="17777"/>
                    <a:pt x="55122" y="16200"/>
                    <a:pt x="51633" y="16200"/>
                  </a:cubicBezTo>
                  <a:cubicBezTo>
                    <a:pt x="49008" y="16200"/>
                    <a:pt x="46381" y="17094"/>
                    <a:pt x="44229" y="18938"/>
                  </a:cubicBezTo>
                  <a:lnTo>
                    <a:pt x="30918" y="30102"/>
                  </a:lnTo>
                  <a:cubicBezTo>
                    <a:pt x="25908" y="34396"/>
                    <a:pt x="25335" y="41983"/>
                    <a:pt x="29773" y="46849"/>
                  </a:cubicBezTo>
                  <a:lnTo>
                    <a:pt x="34067" y="51573"/>
                  </a:lnTo>
                  <a:cubicBezTo>
                    <a:pt x="37502" y="55151"/>
                    <a:pt x="38218" y="60590"/>
                    <a:pt x="35784" y="64884"/>
                  </a:cubicBezTo>
                  <a:cubicBezTo>
                    <a:pt x="34925" y="66459"/>
                    <a:pt x="34067" y="68033"/>
                    <a:pt x="33351" y="69465"/>
                  </a:cubicBezTo>
                  <a:cubicBezTo>
                    <a:pt x="31443" y="73536"/>
                    <a:pt x="27385" y="76024"/>
                    <a:pt x="23089" y="76024"/>
                  </a:cubicBezTo>
                  <a:cubicBezTo>
                    <a:pt x="22552" y="76024"/>
                    <a:pt x="22011" y="75985"/>
                    <a:pt x="21471" y="75906"/>
                  </a:cubicBezTo>
                  <a:lnTo>
                    <a:pt x="15173" y="75047"/>
                  </a:lnTo>
                  <a:cubicBezTo>
                    <a:pt x="14730" y="74999"/>
                    <a:pt x="14290" y="74975"/>
                    <a:pt x="13855" y="74975"/>
                  </a:cubicBezTo>
                  <a:cubicBezTo>
                    <a:pt x="7823" y="74975"/>
                    <a:pt x="2682" y="79498"/>
                    <a:pt x="2147" y="85639"/>
                  </a:cubicBezTo>
                  <a:lnTo>
                    <a:pt x="573" y="102958"/>
                  </a:lnTo>
                  <a:cubicBezTo>
                    <a:pt x="0" y="109542"/>
                    <a:pt x="5153" y="115268"/>
                    <a:pt x="11738" y="115554"/>
                  </a:cubicBezTo>
                  <a:lnTo>
                    <a:pt x="18036" y="115840"/>
                  </a:lnTo>
                  <a:cubicBezTo>
                    <a:pt x="23045" y="115984"/>
                    <a:pt x="27339" y="119419"/>
                    <a:pt x="28771" y="124142"/>
                  </a:cubicBezTo>
                  <a:cubicBezTo>
                    <a:pt x="29200" y="125860"/>
                    <a:pt x="29773" y="127434"/>
                    <a:pt x="30345" y="129152"/>
                  </a:cubicBezTo>
                  <a:cubicBezTo>
                    <a:pt x="31920" y="133875"/>
                    <a:pt x="30345" y="139028"/>
                    <a:pt x="26337" y="142034"/>
                  </a:cubicBezTo>
                  <a:lnTo>
                    <a:pt x="21328" y="146042"/>
                  </a:lnTo>
                  <a:cubicBezTo>
                    <a:pt x="16032" y="150050"/>
                    <a:pt x="15316" y="157636"/>
                    <a:pt x="19610" y="162789"/>
                  </a:cubicBezTo>
                  <a:lnTo>
                    <a:pt x="30775" y="175957"/>
                  </a:lnTo>
                  <a:cubicBezTo>
                    <a:pt x="33020" y="178745"/>
                    <a:pt x="36313" y="180150"/>
                    <a:pt x="39634" y="180150"/>
                  </a:cubicBezTo>
                  <a:cubicBezTo>
                    <a:pt x="42451" y="180150"/>
                    <a:pt x="45288" y="179139"/>
                    <a:pt x="47521" y="177102"/>
                  </a:cubicBezTo>
                  <a:lnTo>
                    <a:pt x="52102" y="172808"/>
                  </a:lnTo>
                  <a:cubicBezTo>
                    <a:pt x="54335" y="170747"/>
                    <a:pt x="57134" y="169717"/>
                    <a:pt x="59975" y="169717"/>
                  </a:cubicBezTo>
                  <a:cubicBezTo>
                    <a:pt x="61869" y="169717"/>
                    <a:pt x="63782" y="170175"/>
                    <a:pt x="65556" y="171091"/>
                  </a:cubicBezTo>
                  <a:cubicBezTo>
                    <a:pt x="66988" y="171949"/>
                    <a:pt x="68562" y="172808"/>
                    <a:pt x="70137" y="173524"/>
                  </a:cubicBezTo>
                  <a:cubicBezTo>
                    <a:pt x="74574" y="175671"/>
                    <a:pt x="77150" y="180538"/>
                    <a:pt x="76578" y="185404"/>
                  </a:cubicBezTo>
                  <a:lnTo>
                    <a:pt x="75719" y="191702"/>
                  </a:lnTo>
                  <a:cubicBezTo>
                    <a:pt x="74860" y="198286"/>
                    <a:pt x="79727" y="204155"/>
                    <a:pt x="86311" y="204727"/>
                  </a:cubicBezTo>
                  <a:lnTo>
                    <a:pt x="103487" y="206302"/>
                  </a:lnTo>
                  <a:cubicBezTo>
                    <a:pt x="103830" y="206331"/>
                    <a:pt x="104170" y="206345"/>
                    <a:pt x="104508" y="206345"/>
                  </a:cubicBezTo>
                  <a:cubicBezTo>
                    <a:pt x="110784" y="206345"/>
                    <a:pt x="115955" y="201386"/>
                    <a:pt x="116226" y="195137"/>
                  </a:cubicBezTo>
                  <a:lnTo>
                    <a:pt x="116513" y="188839"/>
                  </a:lnTo>
                  <a:cubicBezTo>
                    <a:pt x="116656" y="183830"/>
                    <a:pt x="119948" y="179536"/>
                    <a:pt x="124814" y="178104"/>
                  </a:cubicBezTo>
                  <a:cubicBezTo>
                    <a:pt x="126389" y="177675"/>
                    <a:pt x="128107" y="177102"/>
                    <a:pt x="129681" y="176530"/>
                  </a:cubicBezTo>
                  <a:cubicBezTo>
                    <a:pt x="130897" y="176124"/>
                    <a:pt x="132142" y="175928"/>
                    <a:pt x="133372" y="175928"/>
                  </a:cubicBezTo>
                  <a:cubicBezTo>
                    <a:pt x="136916" y="175928"/>
                    <a:pt x="140331" y="177562"/>
                    <a:pt x="142563" y="180538"/>
                  </a:cubicBezTo>
                  <a:lnTo>
                    <a:pt x="146428" y="185547"/>
                  </a:lnTo>
                  <a:cubicBezTo>
                    <a:pt x="148785" y="188473"/>
                    <a:pt x="152249" y="190014"/>
                    <a:pt x="155720" y="190014"/>
                  </a:cubicBezTo>
                  <a:cubicBezTo>
                    <a:pt x="158363" y="190014"/>
                    <a:pt x="161009" y="189121"/>
                    <a:pt x="163175" y="187265"/>
                  </a:cubicBezTo>
                  <a:lnTo>
                    <a:pt x="176486" y="176100"/>
                  </a:lnTo>
                  <a:cubicBezTo>
                    <a:pt x="181496" y="171806"/>
                    <a:pt x="182068" y="164220"/>
                    <a:pt x="177488" y="159354"/>
                  </a:cubicBezTo>
                  <a:lnTo>
                    <a:pt x="173337" y="154773"/>
                  </a:lnTo>
                  <a:cubicBezTo>
                    <a:pt x="169902" y="151052"/>
                    <a:pt x="169186" y="145613"/>
                    <a:pt x="171620" y="141318"/>
                  </a:cubicBezTo>
                  <a:cubicBezTo>
                    <a:pt x="172478" y="139744"/>
                    <a:pt x="173337" y="138313"/>
                    <a:pt x="174053" y="136738"/>
                  </a:cubicBezTo>
                  <a:cubicBezTo>
                    <a:pt x="175961" y="132667"/>
                    <a:pt x="180019" y="130179"/>
                    <a:pt x="184315" y="130179"/>
                  </a:cubicBezTo>
                  <a:cubicBezTo>
                    <a:pt x="184852" y="130179"/>
                    <a:pt x="185392" y="130218"/>
                    <a:pt x="185933" y="130297"/>
                  </a:cubicBezTo>
                  <a:lnTo>
                    <a:pt x="192231" y="131156"/>
                  </a:lnTo>
                  <a:cubicBezTo>
                    <a:pt x="192739" y="131222"/>
                    <a:pt x="193242" y="131254"/>
                    <a:pt x="193739" y="131254"/>
                  </a:cubicBezTo>
                  <a:cubicBezTo>
                    <a:pt x="199689" y="131254"/>
                    <a:pt x="204728" y="126641"/>
                    <a:pt x="205256" y="120564"/>
                  </a:cubicBezTo>
                  <a:lnTo>
                    <a:pt x="206831" y="103245"/>
                  </a:lnTo>
                  <a:cubicBezTo>
                    <a:pt x="207403" y="96660"/>
                    <a:pt x="202251" y="90935"/>
                    <a:pt x="195666" y="90649"/>
                  </a:cubicBezTo>
                  <a:lnTo>
                    <a:pt x="189368" y="90362"/>
                  </a:lnTo>
                  <a:cubicBezTo>
                    <a:pt x="184359" y="90219"/>
                    <a:pt x="180065" y="86927"/>
                    <a:pt x="178633" y="82060"/>
                  </a:cubicBezTo>
                  <a:cubicBezTo>
                    <a:pt x="178204" y="80343"/>
                    <a:pt x="177631" y="78768"/>
                    <a:pt x="177059" y="77194"/>
                  </a:cubicBezTo>
                  <a:cubicBezTo>
                    <a:pt x="175484" y="72470"/>
                    <a:pt x="177059" y="67174"/>
                    <a:pt x="181067" y="64169"/>
                  </a:cubicBezTo>
                  <a:lnTo>
                    <a:pt x="185933" y="60447"/>
                  </a:lnTo>
                  <a:cubicBezTo>
                    <a:pt x="191229" y="56296"/>
                    <a:pt x="192088" y="48710"/>
                    <a:pt x="187794" y="43700"/>
                  </a:cubicBezTo>
                  <a:lnTo>
                    <a:pt x="176629" y="30389"/>
                  </a:lnTo>
                  <a:cubicBezTo>
                    <a:pt x="174288" y="27657"/>
                    <a:pt x="170967" y="26244"/>
                    <a:pt x="167642" y="26244"/>
                  </a:cubicBezTo>
                  <a:cubicBezTo>
                    <a:pt x="164870" y="26244"/>
                    <a:pt x="162095" y="27226"/>
                    <a:pt x="159883" y="29244"/>
                  </a:cubicBezTo>
                  <a:lnTo>
                    <a:pt x="155302" y="33538"/>
                  </a:lnTo>
                  <a:cubicBezTo>
                    <a:pt x="153069" y="35599"/>
                    <a:pt x="150218" y="36629"/>
                    <a:pt x="147367" y="36629"/>
                  </a:cubicBezTo>
                  <a:cubicBezTo>
                    <a:pt x="145466" y="36629"/>
                    <a:pt x="143565" y="36171"/>
                    <a:pt x="141847" y="35255"/>
                  </a:cubicBezTo>
                  <a:cubicBezTo>
                    <a:pt x="140273" y="34396"/>
                    <a:pt x="138842" y="33538"/>
                    <a:pt x="137267" y="32822"/>
                  </a:cubicBezTo>
                  <a:cubicBezTo>
                    <a:pt x="132687" y="30675"/>
                    <a:pt x="130110" y="25808"/>
                    <a:pt x="130826" y="20942"/>
                  </a:cubicBezTo>
                  <a:lnTo>
                    <a:pt x="131685" y="14644"/>
                  </a:lnTo>
                  <a:cubicBezTo>
                    <a:pt x="132544" y="8060"/>
                    <a:pt x="127677" y="2191"/>
                    <a:pt x="121093" y="1618"/>
                  </a:cubicBezTo>
                  <a:lnTo>
                    <a:pt x="103774" y="44"/>
                  </a:lnTo>
                  <a:cubicBezTo>
                    <a:pt x="103438" y="15"/>
                    <a:pt x="103104" y="1"/>
                    <a:pt x="102774" y="1"/>
                  </a:cubicBezTo>
                  <a:close/>
                </a:path>
              </a:pathLst>
            </a:cu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3" name="Google Shape;261;p34">
              <a:extLst>
                <a:ext uri="{FF2B5EF4-FFF2-40B4-BE49-F238E27FC236}">
                  <a16:creationId xmlns:a16="http://schemas.microsoft.com/office/drawing/2014/main" id="{7C93B68A-86C6-84DD-9FB0-E893BDB5FBB1}"/>
                </a:ext>
              </a:extLst>
            </p:cNvPr>
            <p:cNvGrpSpPr/>
            <p:nvPr/>
          </p:nvGrpSpPr>
          <p:grpSpPr>
            <a:xfrm>
              <a:off x="5536526" y="2174241"/>
              <a:ext cx="858975" cy="300968"/>
              <a:chOff x="2271950" y="2722775"/>
              <a:chExt cx="575875" cy="201775"/>
            </a:xfrm>
            <a:grpFill/>
          </p:grpSpPr>
          <p:sp>
            <p:nvSpPr>
              <p:cNvPr id="69" name="Google Shape;262;p34">
                <a:extLst>
                  <a:ext uri="{FF2B5EF4-FFF2-40B4-BE49-F238E27FC236}">
                    <a16:creationId xmlns:a16="http://schemas.microsoft.com/office/drawing/2014/main" id="{BED9DEE0-4FEC-266E-557A-40BB1FF06C87}"/>
                  </a:ext>
                </a:extLst>
              </p:cNvPr>
              <p:cNvSpPr/>
              <p:nvPr/>
            </p:nvSpPr>
            <p:spPr>
              <a:xfrm>
                <a:off x="2576372" y="2722775"/>
                <a:ext cx="271453" cy="201775"/>
              </a:xfrm>
              <a:custGeom>
                <a:avLst/>
                <a:gdLst/>
                <a:ahLst/>
                <a:cxnLst/>
                <a:rect l="l" t="t" r="r" b="b"/>
                <a:pathLst>
                  <a:path w="11420" h="8071" fill="none" extrusionOk="0">
                    <a:moveTo>
                      <a:pt x="0" y="0"/>
                    </a:moveTo>
                    <a:cubicBezTo>
                      <a:pt x="2280" y="0"/>
                      <a:pt x="4240" y="1639"/>
                      <a:pt x="4668" y="3884"/>
                    </a:cubicBezTo>
                    <a:cubicBezTo>
                      <a:pt x="6395" y="3403"/>
                      <a:pt x="8177" y="4418"/>
                      <a:pt x="8640" y="6164"/>
                    </a:cubicBezTo>
                    <a:cubicBezTo>
                      <a:pt x="9976" y="5594"/>
                      <a:pt x="11419" y="6645"/>
                      <a:pt x="11294" y="8070"/>
                    </a:cubicBezTo>
                    <a:lnTo>
                      <a:pt x="8444" y="8070"/>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0" name="Google Shape;263;p34">
                <a:extLst>
                  <a:ext uri="{FF2B5EF4-FFF2-40B4-BE49-F238E27FC236}">
                    <a16:creationId xmlns:a16="http://schemas.microsoft.com/office/drawing/2014/main" id="{10656587-FE28-E7A9-B444-9D1DED14243A}"/>
                  </a:ext>
                </a:extLst>
              </p:cNvPr>
              <p:cNvSpPr/>
              <p:nvPr/>
            </p:nvSpPr>
            <p:spPr>
              <a:xfrm>
                <a:off x="2501750" y="2722775"/>
                <a:ext cx="36100" cy="13375"/>
              </a:xfrm>
              <a:custGeom>
                <a:avLst/>
                <a:gdLst/>
                <a:ahLst/>
                <a:cxnLst/>
                <a:rect l="l" t="t" r="r" b="b"/>
                <a:pathLst>
                  <a:path w="1444" h="535" fill="none" extrusionOk="0">
                    <a:moveTo>
                      <a:pt x="1443" y="0"/>
                    </a:moveTo>
                    <a:cubicBezTo>
                      <a:pt x="1443" y="0"/>
                      <a:pt x="428" y="107"/>
                      <a:pt x="0" y="535"/>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1" name="Google Shape;264;p34">
                <a:extLst>
                  <a:ext uri="{FF2B5EF4-FFF2-40B4-BE49-F238E27FC236}">
                    <a16:creationId xmlns:a16="http://schemas.microsoft.com/office/drawing/2014/main" id="{EFA5DDC3-B0D0-0DE8-93A2-D3D10DDF7398}"/>
                  </a:ext>
                </a:extLst>
              </p:cNvPr>
              <p:cNvSpPr/>
              <p:nvPr/>
            </p:nvSpPr>
            <p:spPr>
              <a:xfrm>
                <a:off x="2271950" y="2870625"/>
                <a:ext cx="477450" cy="53475"/>
              </a:xfrm>
              <a:custGeom>
                <a:avLst/>
                <a:gdLst/>
                <a:ahLst/>
                <a:cxnLst/>
                <a:rect l="l" t="t" r="r" b="b"/>
                <a:pathLst>
                  <a:path w="19098" h="2139" fill="none" extrusionOk="0">
                    <a:moveTo>
                      <a:pt x="19097" y="2138"/>
                    </a:moveTo>
                    <a:lnTo>
                      <a:pt x="0" y="2138"/>
                    </a:lnTo>
                    <a:cubicBezTo>
                      <a:pt x="0" y="2138"/>
                      <a:pt x="374" y="1"/>
                      <a:pt x="2476" y="179"/>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2" name="Google Shape;265;p34">
                <a:extLst>
                  <a:ext uri="{FF2B5EF4-FFF2-40B4-BE49-F238E27FC236}">
                    <a16:creationId xmlns:a16="http://schemas.microsoft.com/office/drawing/2014/main" id="{0F5DB575-7994-C167-E549-6DB58BC53B63}"/>
                  </a:ext>
                </a:extLst>
              </p:cNvPr>
              <p:cNvSpPr/>
              <p:nvPr/>
            </p:nvSpPr>
            <p:spPr>
              <a:xfrm>
                <a:off x="2709725" y="2836775"/>
                <a:ext cx="39675" cy="20950"/>
              </a:xfrm>
              <a:custGeom>
                <a:avLst/>
                <a:gdLst/>
                <a:ahLst/>
                <a:cxnLst/>
                <a:rect l="l" t="t" r="r" b="b"/>
                <a:pathLst>
                  <a:path w="1587" h="838" fill="none" extrusionOk="0">
                    <a:moveTo>
                      <a:pt x="1" y="1"/>
                    </a:moveTo>
                    <a:cubicBezTo>
                      <a:pt x="1" y="1"/>
                      <a:pt x="1159" y="108"/>
                      <a:pt x="1586" y="838"/>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266;p34">
                <a:extLst>
                  <a:ext uri="{FF2B5EF4-FFF2-40B4-BE49-F238E27FC236}">
                    <a16:creationId xmlns:a16="http://schemas.microsoft.com/office/drawing/2014/main" id="{FE453A3C-16ED-C19B-4E34-1465C0545A9F}"/>
                  </a:ext>
                </a:extLst>
              </p:cNvPr>
              <p:cNvSpPr/>
              <p:nvPr/>
            </p:nvSpPr>
            <p:spPr>
              <a:xfrm>
                <a:off x="2328544" y="2798474"/>
                <a:ext cx="131807" cy="74114"/>
              </a:xfrm>
              <a:custGeom>
                <a:avLst/>
                <a:gdLst/>
                <a:ahLst/>
                <a:cxnLst/>
                <a:rect l="l" t="t" r="r" b="b"/>
                <a:pathLst>
                  <a:path w="3403" h="1088" fill="none" extrusionOk="0">
                    <a:moveTo>
                      <a:pt x="3403" y="357"/>
                    </a:moveTo>
                    <a:cubicBezTo>
                      <a:pt x="3403" y="357"/>
                      <a:pt x="1301" y="1"/>
                      <a:pt x="0" y="1087"/>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4" name="Google Shape;267;p34">
              <a:extLst>
                <a:ext uri="{FF2B5EF4-FFF2-40B4-BE49-F238E27FC236}">
                  <a16:creationId xmlns:a16="http://schemas.microsoft.com/office/drawing/2014/main" id="{7E9D21E0-1538-038D-7EFB-CC5B701CB91B}"/>
                </a:ext>
              </a:extLst>
            </p:cNvPr>
            <p:cNvSpPr/>
            <p:nvPr/>
          </p:nvSpPr>
          <p:spPr>
            <a:xfrm rot="8100000">
              <a:off x="6648045" y="2782815"/>
              <a:ext cx="969401" cy="964456"/>
            </a:xfrm>
            <a:custGeom>
              <a:avLst/>
              <a:gdLst/>
              <a:ahLst/>
              <a:cxnLst/>
              <a:rect l="l" t="t" r="r" b="b"/>
              <a:pathLst>
                <a:path w="207404" h="206346" extrusionOk="0">
                  <a:moveTo>
                    <a:pt x="103944" y="65896"/>
                  </a:moveTo>
                  <a:cubicBezTo>
                    <a:pt x="114099" y="65896"/>
                    <a:pt x="124406" y="70041"/>
                    <a:pt x="132114" y="79198"/>
                  </a:cubicBezTo>
                  <a:cubicBezTo>
                    <a:pt x="145426" y="94943"/>
                    <a:pt x="143422" y="118417"/>
                    <a:pt x="127677" y="131728"/>
                  </a:cubicBezTo>
                  <a:lnTo>
                    <a:pt x="127677" y="131585"/>
                  </a:lnTo>
                  <a:cubicBezTo>
                    <a:pt x="120415" y="137698"/>
                    <a:pt x="112071" y="140425"/>
                    <a:pt x="103930" y="140425"/>
                  </a:cubicBezTo>
                  <a:cubicBezTo>
                    <a:pt x="83668" y="140425"/>
                    <a:pt x="64659" y="123539"/>
                    <a:pt x="66701" y="99952"/>
                  </a:cubicBezTo>
                  <a:cubicBezTo>
                    <a:pt x="68530" y="78838"/>
                    <a:pt x="86000" y="65896"/>
                    <a:pt x="103944" y="65896"/>
                  </a:cubicBezTo>
                  <a:close/>
                  <a:moveTo>
                    <a:pt x="102774" y="1"/>
                  </a:moveTo>
                  <a:cubicBezTo>
                    <a:pt x="96620" y="1"/>
                    <a:pt x="91449" y="4960"/>
                    <a:pt x="91178" y="11209"/>
                  </a:cubicBezTo>
                  <a:lnTo>
                    <a:pt x="90891" y="17507"/>
                  </a:lnTo>
                  <a:cubicBezTo>
                    <a:pt x="90748" y="22516"/>
                    <a:pt x="87456" y="26810"/>
                    <a:pt x="82589" y="28242"/>
                  </a:cubicBezTo>
                  <a:cubicBezTo>
                    <a:pt x="81015" y="28671"/>
                    <a:pt x="79297" y="29244"/>
                    <a:pt x="77723" y="29816"/>
                  </a:cubicBezTo>
                  <a:cubicBezTo>
                    <a:pt x="76506" y="30222"/>
                    <a:pt x="75252" y="30418"/>
                    <a:pt x="74008" y="30418"/>
                  </a:cubicBezTo>
                  <a:cubicBezTo>
                    <a:pt x="70424" y="30418"/>
                    <a:pt x="66929" y="28784"/>
                    <a:pt x="64698" y="25808"/>
                  </a:cubicBezTo>
                  <a:lnTo>
                    <a:pt x="60976" y="20799"/>
                  </a:lnTo>
                  <a:cubicBezTo>
                    <a:pt x="58608" y="17777"/>
                    <a:pt x="55122" y="16200"/>
                    <a:pt x="51633" y="16200"/>
                  </a:cubicBezTo>
                  <a:cubicBezTo>
                    <a:pt x="49008" y="16200"/>
                    <a:pt x="46381" y="17094"/>
                    <a:pt x="44229" y="18938"/>
                  </a:cubicBezTo>
                  <a:lnTo>
                    <a:pt x="30918" y="30102"/>
                  </a:lnTo>
                  <a:cubicBezTo>
                    <a:pt x="25908" y="34396"/>
                    <a:pt x="25335" y="41983"/>
                    <a:pt x="29773" y="46849"/>
                  </a:cubicBezTo>
                  <a:lnTo>
                    <a:pt x="34067" y="51573"/>
                  </a:lnTo>
                  <a:cubicBezTo>
                    <a:pt x="37502" y="55151"/>
                    <a:pt x="38218" y="60590"/>
                    <a:pt x="35784" y="64884"/>
                  </a:cubicBezTo>
                  <a:cubicBezTo>
                    <a:pt x="34925" y="66459"/>
                    <a:pt x="34067" y="68033"/>
                    <a:pt x="33351" y="69465"/>
                  </a:cubicBezTo>
                  <a:cubicBezTo>
                    <a:pt x="31443" y="73536"/>
                    <a:pt x="27385" y="76024"/>
                    <a:pt x="23089" y="76024"/>
                  </a:cubicBezTo>
                  <a:cubicBezTo>
                    <a:pt x="22552" y="76024"/>
                    <a:pt x="22011" y="75985"/>
                    <a:pt x="21471" y="75906"/>
                  </a:cubicBezTo>
                  <a:lnTo>
                    <a:pt x="15173" y="75047"/>
                  </a:lnTo>
                  <a:cubicBezTo>
                    <a:pt x="14730" y="74999"/>
                    <a:pt x="14290" y="74975"/>
                    <a:pt x="13855" y="74975"/>
                  </a:cubicBezTo>
                  <a:cubicBezTo>
                    <a:pt x="7823" y="74975"/>
                    <a:pt x="2682" y="79498"/>
                    <a:pt x="2147" y="85639"/>
                  </a:cubicBezTo>
                  <a:lnTo>
                    <a:pt x="573" y="102958"/>
                  </a:lnTo>
                  <a:cubicBezTo>
                    <a:pt x="0" y="109542"/>
                    <a:pt x="5153" y="115268"/>
                    <a:pt x="11738" y="115554"/>
                  </a:cubicBezTo>
                  <a:lnTo>
                    <a:pt x="18036" y="115840"/>
                  </a:lnTo>
                  <a:cubicBezTo>
                    <a:pt x="23045" y="115984"/>
                    <a:pt x="27339" y="119419"/>
                    <a:pt x="28771" y="124142"/>
                  </a:cubicBezTo>
                  <a:cubicBezTo>
                    <a:pt x="29200" y="125860"/>
                    <a:pt x="29773" y="127434"/>
                    <a:pt x="30345" y="129152"/>
                  </a:cubicBezTo>
                  <a:cubicBezTo>
                    <a:pt x="31920" y="133875"/>
                    <a:pt x="30345" y="139028"/>
                    <a:pt x="26337" y="142034"/>
                  </a:cubicBezTo>
                  <a:lnTo>
                    <a:pt x="21328" y="146042"/>
                  </a:lnTo>
                  <a:cubicBezTo>
                    <a:pt x="16032" y="150050"/>
                    <a:pt x="15316" y="157636"/>
                    <a:pt x="19610" y="162789"/>
                  </a:cubicBezTo>
                  <a:lnTo>
                    <a:pt x="30775" y="175957"/>
                  </a:lnTo>
                  <a:cubicBezTo>
                    <a:pt x="33020" y="178745"/>
                    <a:pt x="36313" y="180150"/>
                    <a:pt x="39634" y="180150"/>
                  </a:cubicBezTo>
                  <a:cubicBezTo>
                    <a:pt x="42451" y="180150"/>
                    <a:pt x="45288" y="179139"/>
                    <a:pt x="47521" y="177102"/>
                  </a:cubicBezTo>
                  <a:lnTo>
                    <a:pt x="52102" y="172808"/>
                  </a:lnTo>
                  <a:cubicBezTo>
                    <a:pt x="54335" y="170747"/>
                    <a:pt x="57134" y="169717"/>
                    <a:pt x="59975" y="169717"/>
                  </a:cubicBezTo>
                  <a:cubicBezTo>
                    <a:pt x="61869" y="169717"/>
                    <a:pt x="63782" y="170175"/>
                    <a:pt x="65556" y="171091"/>
                  </a:cubicBezTo>
                  <a:cubicBezTo>
                    <a:pt x="66988" y="171949"/>
                    <a:pt x="68562" y="172808"/>
                    <a:pt x="70137" y="173524"/>
                  </a:cubicBezTo>
                  <a:cubicBezTo>
                    <a:pt x="74574" y="175671"/>
                    <a:pt x="77150" y="180538"/>
                    <a:pt x="76578" y="185404"/>
                  </a:cubicBezTo>
                  <a:lnTo>
                    <a:pt x="75719" y="191702"/>
                  </a:lnTo>
                  <a:cubicBezTo>
                    <a:pt x="74860" y="198286"/>
                    <a:pt x="79727" y="204155"/>
                    <a:pt x="86311" y="204727"/>
                  </a:cubicBezTo>
                  <a:lnTo>
                    <a:pt x="103487" y="206302"/>
                  </a:lnTo>
                  <a:cubicBezTo>
                    <a:pt x="103830" y="206331"/>
                    <a:pt x="104170" y="206345"/>
                    <a:pt x="104508" y="206345"/>
                  </a:cubicBezTo>
                  <a:cubicBezTo>
                    <a:pt x="110784" y="206345"/>
                    <a:pt x="115955" y="201386"/>
                    <a:pt x="116226" y="195137"/>
                  </a:cubicBezTo>
                  <a:lnTo>
                    <a:pt x="116513" y="188839"/>
                  </a:lnTo>
                  <a:cubicBezTo>
                    <a:pt x="116656" y="183830"/>
                    <a:pt x="119948" y="179536"/>
                    <a:pt x="124814" y="178104"/>
                  </a:cubicBezTo>
                  <a:cubicBezTo>
                    <a:pt x="126389" y="177675"/>
                    <a:pt x="128107" y="177102"/>
                    <a:pt x="129681" y="176530"/>
                  </a:cubicBezTo>
                  <a:cubicBezTo>
                    <a:pt x="130897" y="176124"/>
                    <a:pt x="132142" y="175928"/>
                    <a:pt x="133372" y="175928"/>
                  </a:cubicBezTo>
                  <a:cubicBezTo>
                    <a:pt x="136916" y="175928"/>
                    <a:pt x="140331" y="177562"/>
                    <a:pt x="142563" y="180538"/>
                  </a:cubicBezTo>
                  <a:lnTo>
                    <a:pt x="146428" y="185547"/>
                  </a:lnTo>
                  <a:cubicBezTo>
                    <a:pt x="148785" y="188473"/>
                    <a:pt x="152249" y="190014"/>
                    <a:pt x="155720" y="190014"/>
                  </a:cubicBezTo>
                  <a:cubicBezTo>
                    <a:pt x="158363" y="190014"/>
                    <a:pt x="161009" y="189121"/>
                    <a:pt x="163175" y="187265"/>
                  </a:cubicBezTo>
                  <a:lnTo>
                    <a:pt x="176486" y="176100"/>
                  </a:lnTo>
                  <a:cubicBezTo>
                    <a:pt x="181496" y="171806"/>
                    <a:pt x="182068" y="164220"/>
                    <a:pt x="177488" y="159354"/>
                  </a:cubicBezTo>
                  <a:lnTo>
                    <a:pt x="173337" y="154773"/>
                  </a:lnTo>
                  <a:cubicBezTo>
                    <a:pt x="169902" y="151052"/>
                    <a:pt x="169186" y="145613"/>
                    <a:pt x="171620" y="141318"/>
                  </a:cubicBezTo>
                  <a:cubicBezTo>
                    <a:pt x="172478" y="139744"/>
                    <a:pt x="173337" y="138313"/>
                    <a:pt x="174053" y="136738"/>
                  </a:cubicBezTo>
                  <a:cubicBezTo>
                    <a:pt x="175961" y="132667"/>
                    <a:pt x="180019" y="130179"/>
                    <a:pt x="184315" y="130179"/>
                  </a:cubicBezTo>
                  <a:cubicBezTo>
                    <a:pt x="184852" y="130179"/>
                    <a:pt x="185392" y="130218"/>
                    <a:pt x="185933" y="130297"/>
                  </a:cubicBezTo>
                  <a:lnTo>
                    <a:pt x="192231" y="131156"/>
                  </a:lnTo>
                  <a:cubicBezTo>
                    <a:pt x="192739" y="131222"/>
                    <a:pt x="193242" y="131254"/>
                    <a:pt x="193739" y="131254"/>
                  </a:cubicBezTo>
                  <a:cubicBezTo>
                    <a:pt x="199689" y="131254"/>
                    <a:pt x="204728" y="126641"/>
                    <a:pt x="205256" y="120564"/>
                  </a:cubicBezTo>
                  <a:lnTo>
                    <a:pt x="206831" y="103245"/>
                  </a:lnTo>
                  <a:cubicBezTo>
                    <a:pt x="207403" y="96660"/>
                    <a:pt x="202251" y="90935"/>
                    <a:pt x="195666" y="90649"/>
                  </a:cubicBezTo>
                  <a:lnTo>
                    <a:pt x="189368" y="90362"/>
                  </a:lnTo>
                  <a:cubicBezTo>
                    <a:pt x="184359" y="90219"/>
                    <a:pt x="180065" y="86927"/>
                    <a:pt x="178633" y="82060"/>
                  </a:cubicBezTo>
                  <a:cubicBezTo>
                    <a:pt x="178204" y="80343"/>
                    <a:pt x="177631" y="78768"/>
                    <a:pt x="177059" y="77194"/>
                  </a:cubicBezTo>
                  <a:cubicBezTo>
                    <a:pt x="175484" y="72470"/>
                    <a:pt x="177059" y="67174"/>
                    <a:pt x="181067" y="64169"/>
                  </a:cubicBezTo>
                  <a:lnTo>
                    <a:pt x="185933" y="60447"/>
                  </a:lnTo>
                  <a:cubicBezTo>
                    <a:pt x="191229" y="56296"/>
                    <a:pt x="192088" y="48710"/>
                    <a:pt x="187794" y="43700"/>
                  </a:cubicBezTo>
                  <a:lnTo>
                    <a:pt x="176629" y="30389"/>
                  </a:lnTo>
                  <a:cubicBezTo>
                    <a:pt x="174288" y="27657"/>
                    <a:pt x="170967" y="26244"/>
                    <a:pt x="167642" y="26244"/>
                  </a:cubicBezTo>
                  <a:cubicBezTo>
                    <a:pt x="164870" y="26244"/>
                    <a:pt x="162095" y="27226"/>
                    <a:pt x="159883" y="29244"/>
                  </a:cubicBezTo>
                  <a:lnTo>
                    <a:pt x="155302" y="33538"/>
                  </a:lnTo>
                  <a:cubicBezTo>
                    <a:pt x="153069" y="35599"/>
                    <a:pt x="150218" y="36629"/>
                    <a:pt x="147367" y="36629"/>
                  </a:cubicBezTo>
                  <a:cubicBezTo>
                    <a:pt x="145466" y="36629"/>
                    <a:pt x="143565" y="36171"/>
                    <a:pt x="141847" y="35255"/>
                  </a:cubicBezTo>
                  <a:cubicBezTo>
                    <a:pt x="140273" y="34396"/>
                    <a:pt x="138842" y="33538"/>
                    <a:pt x="137267" y="32822"/>
                  </a:cubicBezTo>
                  <a:cubicBezTo>
                    <a:pt x="132687" y="30675"/>
                    <a:pt x="130110" y="25808"/>
                    <a:pt x="130826" y="20942"/>
                  </a:cubicBezTo>
                  <a:lnTo>
                    <a:pt x="131685" y="14644"/>
                  </a:lnTo>
                  <a:cubicBezTo>
                    <a:pt x="132544" y="8060"/>
                    <a:pt x="127677" y="2191"/>
                    <a:pt x="121093" y="1618"/>
                  </a:cubicBezTo>
                  <a:lnTo>
                    <a:pt x="103774" y="44"/>
                  </a:lnTo>
                  <a:cubicBezTo>
                    <a:pt x="103438" y="15"/>
                    <a:pt x="103104" y="1"/>
                    <a:pt x="102774" y="1"/>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 name="Google Shape;268;p34">
              <a:extLst>
                <a:ext uri="{FF2B5EF4-FFF2-40B4-BE49-F238E27FC236}">
                  <a16:creationId xmlns:a16="http://schemas.microsoft.com/office/drawing/2014/main" id="{5FEF6747-3F1D-CD2C-443D-EA66CD5190EA}"/>
                </a:ext>
              </a:extLst>
            </p:cNvPr>
            <p:cNvSpPr/>
            <p:nvPr/>
          </p:nvSpPr>
          <p:spPr>
            <a:xfrm rot="7198710">
              <a:off x="5934873" y="3298064"/>
              <a:ext cx="630918" cy="627700"/>
            </a:xfrm>
            <a:custGeom>
              <a:avLst/>
              <a:gdLst/>
              <a:ahLst/>
              <a:cxnLst/>
              <a:rect l="l" t="t" r="r" b="b"/>
              <a:pathLst>
                <a:path w="207404" h="206346" extrusionOk="0">
                  <a:moveTo>
                    <a:pt x="103944" y="65896"/>
                  </a:moveTo>
                  <a:cubicBezTo>
                    <a:pt x="114099" y="65896"/>
                    <a:pt x="124406" y="70041"/>
                    <a:pt x="132114" y="79198"/>
                  </a:cubicBezTo>
                  <a:cubicBezTo>
                    <a:pt x="145426" y="94943"/>
                    <a:pt x="143422" y="118417"/>
                    <a:pt x="127677" y="131728"/>
                  </a:cubicBezTo>
                  <a:lnTo>
                    <a:pt x="127677" y="131585"/>
                  </a:lnTo>
                  <a:cubicBezTo>
                    <a:pt x="120415" y="137698"/>
                    <a:pt x="112071" y="140425"/>
                    <a:pt x="103930" y="140425"/>
                  </a:cubicBezTo>
                  <a:cubicBezTo>
                    <a:pt x="83668" y="140425"/>
                    <a:pt x="64659" y="123539"/>
                    <a:pt x="66701" y="99952"/>
                  </a:cubicBezTo>
                  <a:cubicBezTo>
                    <a:pt x="68530" y="78838"/>
                    <a:pt x="86000" y="65896"/>
                    <a:pt x="103944" y="65896"/>
                  </a:cubicBezTo>
                  <a:close/>
                  <a:moveTo>
                    <a:pt x="102774" y="1"/>
                  </a:moveTo>
                  <a:cubicBezTo>
                    <a:pt x="96620" y="1"/>
                    <a:pt x="91449" y="4960"/>
                    <a:pt x="91178" y="11209"/>
                  </a:cubicBezTo>
                  <a:lnTo>
                    <a:pt x="90891" y="17507"/>
                  </a:lnTo>
                  <a:cubicBezTo>
                    <a:pt x="90748" y="22516"/>
                    <a:pt x="87456" y="26810"/>
                    <a:pt x="82589" y="28242"/>
                  </a:cubicBezTo>
                  <a:cubicBezTo>
                    <a:pt x="81015" y="28671"/>
                    <a:pt x="79297" y="29244"/>
                    <a:pt x="77723" y="29816"/>
                  </a:cubicBezTo>
                  <a:cubicBezTo>
                    <a:pt x="76506" y="30222"/>
                    <a:pt x="75252" y="30418"/>
                    <a:pt x="74008" y="30418"/>
                  </a:cubicBezTo>
                  <a:cubicBezTo>
                    <a:pt x="70424" y="30418"/>
                    <a:pt x="66929" y="28784"/>
                    <a:pt x="64698" y="25808"/>
                  </a:cubicBezTo>
                  <a:lnTo>
                    <a:pt x="60976" y="20799"/>
                  </a:lnTo>
                  <a:cubicBezTo>
                    <a:pt x="58608" y="17777"/>
                    <a:pt x="55122" y="16200"/>
                    <a:pt x="51633" y="16200"/>
                  </a:cubicBezTo>
                  <a:cubicBezTo>
                    <a:pt x="49008" y="16200"/>
                    <a:pt x="46381" y="17094"/>
                    <a:pt x="44229" y="18938"/>
                  </a:cubicBezTo>
                  <a:lnTo>
                    <a:pt x="30918" y="30102"/>
                  </a:lnTo>
                  <a:cubicBezTo>
                    <a:pt x="25908" y="34396"/>
                    <a:pt x="25335" y="41983"/>
                    <a:pt x="29773" y="46849"/>
                  </a:cubicBezTo>
                  <a:lnTo>
                    <a:pt x="34067" y="51573"/>
                  </a:lnTo>
                  <a:cubicBezTo>
                    <a:pt x="37502" y="55151"/>
                    <a:pt x="38218" y="60590"/>
                    <a:pt x="35784" y="64884"/>
                  </a:cubicBezTo>
                  <a:cubicBezTo>
                    <a:pt x="34925" y="66459"/>
                    <a:pt x="34067" y="68033"/>
                    <a:pt x="33351" y="69465"/>
                  </a:cubicBezTo>
                  <a:cubicBezTo>
                    <a:pt x="31443" y="73536"/>
                    <a:pt x="27385" y="76024"/>
                    <a:pt x="23089" y="76024"/>
                  </a:cubicBezTo>
                  <a:cubicBezTo>
                    <a:pt x="22552" y="76024"/>
                    <a:pt x="22011" y="75985"/>
                    <a:pt x="21471" y="75906"/>
                  </a:cubicBezTo>
                  <a:lnTo>
                    <a:pt x="15173" y="75047"/>
                  </a:lnTo>
                  <a:cubicBezTo>
                    <a:pt x="14730" y="74999"/>
                    <a:pt x="14290" y="74975"/>
                    <a:pt x="13855" y="74975"/>
                  </a:cubicBezTo>
                  <a:cubicBezTo>
                    <a:pt x="7823" y="74975"/>
                    <a:pt x="2682" y="79498"/>
                    <a:pt x="2147" y="85639"/>
                  </a:cubicBezTo>
                  <a:lnTo>
                    <a:pt x="573" y="102958"/>
                  </a:lnTo>
                  <a:cubicBezTo>
                    <a:pt x="0" y="109542"/>
                    <a:pt x="5153" y="115268"/>
                    <a:pt x="11738" y="115554"/>
                  </a:cubicBezTo>
                  <a:lnTo>
                    <a:pt x="18036" y="115840"/>
                  </a:lnTo>
                  <a:cubicBezTo>
                    <a:pt x="23045" y="115984"/>
                    <a:pt x="27339" y="119419"/>
                    <a:pt x="28771" y="124142"/>
                  </a:cubicBezTo>
                  <a:cubicBezTo>
                    <a:pt x="29200" y="125860"/>
                    <a:pt x="29773" y="127434"/>
                    <a:pt x="30345" y="129152"/>
                  </a:cubicBezTo>
                  <a:cubicBezTo>
                    <a:pt x="31920" y="133875"/>
                    <a:pt x="30345" y="139028"/>
                    <a:pt x="26337" y="142034"/>
                  </a:cubicBezTo>
                  <a:lnTo>
                    <a:pt x="21328" y="146042"/>
                  </a:lnTo>
                  <a:cubicBezTo>
                    <a:pt x="16032" y="150050"/>
                    <a:pt x="15316" y="157636"/>
                    <a:pt x="19610" y="162789"/>
                  </a:cubicBezTo>
                  <a:lnTo>
                    <a:pt x="30775" y="175957"/>
                  </a:lnTo>
                  <a:cubicBezTo>
                    <a:pt x="33020" y="178745"/>
                    <a:pt x="36313" y="180150"/>
                    <a:pt x="39634" y="180150"/>
                  </a:cubicBezTo>
                  <a:cubicBezTo>
                    <a:pt x="42451" y="180150"/>
                    <a:pt x="45288" y="179139"/>
                    <a:pt x="47521" y="177102"/>
                  </a:cubicBezTo>
                  <a:lnTo>
                    <a:pt x="52102" y="172808"/>
                  </a:lnTo>
                  <a:cubicBezTo>
                    <a:pt x="54335" y="170747"/>
                    <a:pt x="57134" y="169717"/>
                    <a:pt x="59975" y="169717"/>
                  </a:cubicBezTo>
                  <a:cubicBezTo>
                    <a:pt x="61869" y="169717"/>
                    <a:pt x="63782" y="170175"/>
                    <a:pt x="65556" y="171091"/>
                  </a:cubicBezTo>
                  <a:cubicBezTo>
                    <a:pt x="66988" y="171949"/>
                    <a:pt x="68562" y="172808"/>
                    <a:pt x="70137" y="173524"/>
                  </a:cubicBezTo>
                  <a:cubicBezTo>
                    <a:pt x="74574" y="175671"/>
                    <a:pt x="77150" y="180538"/>
                    <a:pt x="76578" y="185404"/>
                  </a:cubicBezTo>
                  <a:lnTo>
                    <a:pt x="75719" y="191702"/>
                  </a:lnTo>
                  <a:cubicBezTo>
                    <a:pt x="74860" y="198286"/>
                    <a:pt x="79727" y="204155"/>
                    <a:pt x="86311" y="204727"/>
                  </a:cubicBezTo>
                  <a:lnTo>
                    <a:pt x="103487" y="206302"/>
                  </a:lnTo>
                  <a:cubicBezTo>
                    <a:pt x="103830" y="206331"/>
                    <a:pt x="104170" y="206345"/>
                    <a:pt x="104508" y="206345"/>
                  </a:cubicBezTo>
                  <a:cubicBezTo>
                    <a:pt x="110784" y="206345"/>
                    <a:pt x="115955" y="201386"/>
                    <a:pt x="116226" y="195137"/>
                  </a:cubicBezTo>
                  <a:lnTo>
                    <a:pt x="116513" y="188839"/>
                  </a:lnTo>
                  <a:cubicBezTo>
                    <a:pt x="116656" y="183830"/>
                    <a:pt x="119948" y="179536"/>
                    <a:pt x="124814" y="178104"/>
                  </a:cubicBezTo>
                  <a:cubicBezTo>
                    <a:pt x="126389" y="177675"/>
                    <a:pt x="128107" y="177102"/>
                    <a:pt x="129681" y="176530"/>
                  </a:cubicBezTo>
                  <a:cubicBezTo>
                    <a:pt x="130897" y="176124"/>
                    <a:pt x="132142" y="175928"/>
                    <a:pt x="133372" y="175928"/>
                  </a:cubicBezTo>
                  <a:cubicBezTo>
                    <a:pt x="136916" y="175928"/>
                    <a:pt x="140331" y="177562"/>
                    <a:pt x="142563" y="180538"/>
                  </a:cubicBezTo>
                  <a:lnTo>
                    <a:pt x="146428" y="185547"/>
                  </a:lnTo>
                  <a:cubicBezTo>
                    <a:pt x="148785" y="188473"/>
                    <a:pt x="152249" y="190014"/>
                    <a:pt x="155720" y="190014"/>
                  </a:cubicBezTo>
                  <a:cubicBezTo>
                    <a:pt x="158363" y="190014"/>
                    <a:pt x="161009" y="189121"/>
                    <a:pt x="163175" y="187265"/>
                  </a:cubicBezTo>
                  <a:lnTo>
                    <a:pt x="176486" y="176100"/>
                  </a:lnTo>
                  <a:cubicBezTo>
                    <a:pt x="181496" y="171806"/>
                    <a:pt x="182068" y="164220"/>
                    <a:pt x="177488" y="159354"/>
                  </a:cubicBezTo>
                  <a:lnTo>
                    <a:pt x="173337" y="154773"/>
                  </a:lnTo>
                  <a:cubicBezTo>
                    <a:pt x="169902" y="151052"/>
                    <a:pt x="169186" y="145613"/>
                    <a:pt x="171620" y="141318"/>
                  </a:cubicBezTo>
                  <a:cubicBezTo>
                    <a:pt x="172478" y="139744"/>
                    <a:pt x="173337" y="138313"/>
                    <a:pt x="174053" y="136738"/>
                  </a:cubicBezTo>
                  <a:cubicBezTo>
                    <a:pt x="175961" y="132667"/>
                    <a:pt x="180019" y="130179"/>
                    <a:pt x="184315" y="130179"/>
                  </a:cubicBezTo>
                  <a:cubicBezTo>
                    <a:pt x="184852" y="130179"/>
                    <a:pt x="185392" y="130218"/>
                    <a:pt x="185933" y="130297"/>
                  </a:cubicBezTo>
                  <a:lnTo>
                    <a:pt x="192231" y="131156"/>
                  </a:lnTo>
                  <a:cubicBezTo>
                    <a:pt x="192739" y="131222"/>
                    <a:pt x="193242" y="131254"/>
                    <a:pt x="193739" y="131254"/>
                  </a:cubicBezTo>
                  <a:cubicBezTo>
                    <a:pt x="199689" y="131254"/>
                    <a:pt x="204728" y="126641"/>
                    <a:pt x="205256" y="120564"/>
                  </a:cubicBezTo>
                  <a:lnTo>
                    <a:pt x="206831" y="103245"/>
                  </a:lnTo>
                  <a:cubicBezTo>
                    <a:pt x="207403" y="96660"/>
                    <a:pt x="202251" y="90935"/>
                    <a:pt x="195666" y="90649"/>
                  </a:cubicBezTo>
                  <a:lnTo>
                    <a:pt x="189368" y="90362"/>
                  </a:lnTo>
                  <a:cubicBezTo>
                    <a:pt x="184359" y="90219"/>
                    <a:pt x="180065" y="86927"/>
                    <a:pt x="178633" y="82060"/>
                  </a:cubicBezTo>
                  <a:cubicBezTo>
                    <a:pt x="178204" y="80343"/>
                    <a:pt x="177631" y="78768"/>
                    <a:pt x="177059" y="77194"/>
                  </a:cubicBezTo>
                  <a:cubicBezTo>
                    <a:pt x="175484" y="72470"/>
                    <a:pt x="177059" y="67174"/>
                    <a:pt x="181067" y="64169"/>
                  </a:cubicBezTo>
                  <a:lnTo>
                    <a:pt x="185933" y="60447"/>
                  </a:lnTo>
                  <a:cubicBezTo>
                    <a:pt x="191229" y="56296"/>
                    <a:pt x="192088" y="48710"/>
                    <a:pt x="187794" y="43700"/>
                  </a:cubicBezTo>
                  <a:lnTo>
                    <a:pt x="176629" y="30389"/>
                  </a:lnTo>
                  <a:cubicBezTo>
                    <a:pt x="174288" y="27657"/>
                    <a:pt x="170967" y="26244"/>
                    <a:pt x="167642" y="26244"/>
                  </a:cubicBezTo>
                  <a:cubicBezTo>
                    <a:pt x="164870" y="26244"/>
                    <a:pt x="162095" y="27226"/>
                    <a:pt x="159883" y="29244"/>
                  </a:cubicBezTo>
                  <a:lnTo>
                    <a:pt x="155302" y="33538"/>
                  </a:lnTo>
                  <a:cubicBezTo>
                    <a:pt x="153069" y="35599"/>
                    <a:pt x="150218" y="36629"/>
                    <a:pt x="147367" y="36629"/>
                  </a:cubicBezTo>
                  <a:cubicBezTo>
                    <a:pt x="145466" y="36629"/>
                    <a:pt x="143565" y="36171"/>
                    <a:pt x="141847" y="35255"/>
                  </a:cubicBezTo>
                  <a:cubicBezTo>
                    <a:pt x="140273" y="34396"/>
                    <a:pt x="138842" y="33538"/>
                    <a:pt x="137267" y="32822"/>
                  </a:cubicBezTo>
                  <a:cubicBezTo>
                    <a:pt x="132687" y="30675"/>
                    <a:pt x="130110" y="25808"/>
                    <a:pt x="130826" y="20942"/>
                  </a:cubicBezTo>
                  <a:lnTo>
                    <a:pt x="131685" y="14644"/>
                  </a:lnTo>
                  <a:cubicBezTo>
                    <a:pt x="132544" y="8060"/>
                    <a:pt x="127677" y="2191"/>
                    <a:pt x="121093" y="1618"/>
                  </a:cubicBezTo>
                  <a:lnTo>
                    <a:pt x="103774" y="44"/>
                  </a:lnTo>
                  <a:cubicBezTo>
                    <a:pt x="103438" y="15"/>
                    <a:pt x="103104" y="1"/>
                    <a:pt x="102774" y="1"/>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6" name="Google Shape;269;p34">
              <a:extLst>
                <a:ext uri="{FF2B5EF4-FFF2-40B4-BE49-F238E27FC236}">
                  <a16:creationId xmlns:a16="http://schemas.microsoft.com/office/drawing/2014/main" id="{14617A99-D89E-8CC5-C74D-6B705B0B9A4C}"/>
                </a:ext>
              </a:extLst>
            </p:cNvPr>
            <p:cNvGrpSpPr/>
            <p:nvPr/>
          </p:nvGrpSpPr>
          <p:grpSpPr>
            <a:xfrm>
              <a:off x="6056200" y="1535350"/>
              <a:ext cx="2293204" cy="1710167"/>
              <a:chOff x="1062800" y="1986296"/>
              <a:chExt cx="2169540" cy="1617945"/>
            </a:xfrm>
            <a:grpFill/>
          </p:grpSpPr>
          <p:sp>
            <p:nvSpPr>
              <p:cNvPr id="55" name="Google Shape;270;p34">
                <a:extLst>
                  <a:ext uri="{FF2B5EF4-FFF2-40B4-BE49-F238E27FC236}">
                    <a16:creationId xmlns:a16="http://schemas.microsoft.com/office/drawing/2014/main" id="{1CFBC5DD-151C-AFD7-B992-524D2E22F8C1}"/>
                  </a:ext>
                </a:extLst>
              </p:cNvPr>
              <p:cNvSpPr/>
              <p:nvPr/>
            </p:nvSpPr>
            <p:spPr>
              <a:xfrm>
                <a:off x="1062800" y="1986296"/>
                <a:ext cx="2169540" cy="1617945"/>
              </a:xfrm>
              <a:custGeom>
                <a:avLst/>
                <a:gdLst/>
                <a:ahLst/>
                <a:cxnLst/>
                <a:rect l="l" t="t" r="r" b="b"/>
                <a:pathLst>
                  <a:path w="66074" h="49275" extrusionOk="0">
                    <a:moveTo>
                      <a:pt x="65878" y="35219"/>
                    </a:moveTo>
                    <a:lnTo>
                      <a:pt x="65308" y="32298"/>
                    </a:lnTo>
                    <a:lnTo>
                      <a:pt x="60694" y="33188"/>
                    </a:lnTo>
                    <a:lnTo>
                      <a:pt x="54601" y="1710"/>
                    </a:lnTo>
                    <a:cubicBezTo>
                      <a:pt x="54387" y="677"/>
                      <a:pt x="53390" y="0"/>
                      <a:pt x="52374" y="196"/>
                    </a:cubicBezTo>
                    <a:lnTo>
                      <a:pt x="1693" y="10012"/>
                    </a:lnTo>
                    <a:cubicBezTo>
                      <a:pt x="677" y="10208"/>
                      <a:pt x="0" y="11205"/>
                      <a:pt x="196" y="12239"/>
                    </a:cubicBezTo>
                    <a:lnTo>
                      <a:pt x="6307" y="43752"/>
                    </a:lnTo>
                    <a:lnTo>
                      <a:pt x="1693" y="44643"/>
                    </a:lnTo>
                    <a:lnTo>
                      <a:pt x="2263" y="47547"/>
                    </a:lnTo>
                    <a:cubicBezTo>
                      <a:pt x="2459" y="48598"/>
                      <a:pt x="3474" y="49275"/>
                      <a:pt x="4525" y="49079"/>
                    </a:cubicBezTo>
                    <a:lnTo>
                      <a:pt x="64346" y="37481"/>
                    </a:lnTo>
                    <a:cubicBezTo>
                      <a:pt x="65397" y="37286"/>
                      <a:pt x="66074" y="36270"/>
                      <a:pt x="65878" y="35219"/>
                    </a:cubicBezTo>
                    <a:close/>
                  </a:path>
                </a:pathLst>
              </a:cu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6" name="Google Shape;271;p34">
                <a:extLst>
                  <a:ext uri="{FF2B5EF4-FFF2-40B4-BE49-F238E27FC236}">
                    <a16:creationId xmlns:a16="http://schemas.microsoft.com/office/drawing/2014/main" id="{61EDD6A5-440F-3ED0-D097-C1D0E478FC80}"/>
                  </a:ext>
                </a:extLst>
              </p:cNvPr>
              <p:cNvSpPr/>
              <p:nvPr/>
            </p:nvSpPr>
            <p:spPr>
              <a:xfrm>
                <a:off x="1062800" y="1986854"/>
                <a:ext cx="1993479" cy="1436072"/>
              </a:xfrm>
              <a:custGeom>
                <a:avLst/>
                <a:gdLst/>
                <a:ahLst/>
                <a:cxnLst/>
                <a:rect l="l" t="t" r="r" b="b"/>
                <a:pathLst>
                  <a:path w="60712" h="43736" fill="none" extrusionOk="0">
                    <a:moveTo>
                      <a:pt x="60712" y="33189"/>
                    </a:moveTo>
                    <a:lnTo>
                      <a:pt x="6307" y="43735"/>
                    </a:lnTo>
                    <a:lnTo>
                      <a:pt x="196" y="12239"/>
                    </a:lnTo>
                    <a:cubicBezTo>
                      <a:pt x="0" y="11206"/>
                      <a:pt x="677" y="10209"/>
                      <a:pt x="1710" y="10013"/>
                    </a:cubicBezTo>
                    <a:lnTo>
                      <a:pt x="52357" y="197"/>
                    </a:lnTo>
                    <a:cubicBezTo>
                      <a:pt x="53390" y="1"/>
                      <a:pt x="54387" y="678"/>
                      <a:pt x="54583" y="171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7" name="Google Shape;272;p34">
                <a:extLst>
                  <a:ext uri="{FF2B5EF4-FFF2-40B4-BE49-F238E27FC236}">
                    <a16:creationId xmlns:a16="http://schemas.microsoft.com/office/drawing/2014/main" id="{270C6379-6002-0B77-D35C-5F8D3ABE0CF4}"/>
                  </a:ext>
                </a:extLst>
              </p:cNvPr>
              <p:cNvSpPr/>
              <p:nvPr/>
            </p:nvSpPr>
            <p:spPr>
              <a:xfrm>
                <a:off x="1163997" y="2090415"/>
                <a:ext cx="1791675" cy="1259977"/>
              </a:xfrm>
              <a:custGeom>
                <a:avLst/>
                <a:gdLst/>
                <a:ahLst/>
                <a:cxnLst/>
                <a:rect l="l" t="t" r="r" b="b"/>
                <a:pathLst>
                  <a:path w="54566" h="38373" fill="none" extrusionOk="0">
                    <a:moveTo>
                      <a:pt x="0" y="9495"/>
                    </a:moveTo>
                    <a:lnTo>
                      <a:pt x="48972" y="0"/>
                    </a:lnTo>
                    <a:lnTo>
                      <a:pt x="54565" y="28895"/>
                    </a:lnTo>
                    <a:lnTo>
                      <a:pt x="5612" y="38372"/>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8" name="Google Shape;273;p34">
                <a:extLst>
                  <a:ext uri="{FF2B5EF4-FFF2-40B4-BE49-F238E27FC236}">
                    <a16:creationId xmlns:a16="http://schemas.microsoft.com/office/drawing/2014/main" id="{83E38444-75FA-FEE2-E5F3-0077F404DEB8}"/>
                  </a:ext>
                </a:extLst>
              </p:cNvPr>
              <p:cNvSpPr/>
              <p:nvPr/>
            </p:nvSpPr>
            <p:spPr>
              <a:xfrm>
                <a:off x="1118356" y="3046759"/>
                <a:ext cx="2113983" cy="557473"/>
              </a:xfrm>
              <a:custGeom>
                <a:avLst/>
                <a:gdLst/>
                <a:ahLst/>
                <a:cxnLst/>
                <a:rect l="l" t="t" r="r" b="b"/>
                <a:pathLst>
                  <a:path w="64382" h="16978" fill="none" extrusionOk="0">
                    <a:moveTo>
                      <a:pt x="1" y="12346"/>
                    </a:moveTo>
                    <a:lnTo>
                      <a:pt x="63616" y="1"/>
                    </a:lnTo>
                    <a:lnTo>
                      <a:pt x="64186" y="2922"/>
                    </a:lnTo>
                    <a:cubicBezTo>
                      <a:pt x="64382" y="3973"/>
                      <a:pt x="63705" y="4989"/>
                      <a:pt x="62654" y="5184"/>
                    </a:cubicBezTo>
                    <a:lnTo>
                      <a:pt x="2833" y="16782"/>
                    </a:lnTo>
                    <a:cubicBezTo>
                      <a:pt x="1782" y="16978"/>
                      <a:pt x="767" y="16301"/>
                      <a:pt x="571" y="15250"/>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9" name="Google Shape;274;p34">
                <a:extLst>
                  <a:ext uri="{FF2B5EF4-FFF2-40B4-BE49-F238E27FC236}">
                    <a16:creationId xmlns:a16="http://schemas.microsoft.com/office/drawing/2014/main" id="{3AE41187-A166-1EE5-C665-05A846E6D5FC}"/>
                  </a:ext>
                </a:extLst>
              </p:cNvPr>
              <p:cNvSpPr/>
              <p:nvPr/>
            </p:nvSpPr>
            <p:spPr>
              <a:xfrm>
                <a:off x="1884028" y="3195336"/>
                <a:ext cx="567422" cy="149760"/>
              </a:xfrm>
              <a:custGeom>
                <a:avLst/>
                <a:gdLst/>
                <a:ahLst/>
                <a:cxnLst/>
                <a:rect l="l" t="t" r="r" b="b"/>
                <a:pathLst>
                  <a:path w="17281" h="4561" fill="none" extrusionOk="0">
                    <a:moveTo>
                      <a:pt x="1" y="3314"/>
                    </a:moveTo>
                    <a:lnTo>
                      <a:pt x="17067" y="0"/>
                    </a:lnTo>
                    <a:lnTo>
                      <a:pt x="17227" y="784"/>
                    </a:lnTo>
                    <a:cubicBezTo>
                      <a:pt x="17281" y="1069"/>
                      <a:pt x="17085" y="1336"/>
                      <a:pt x="16817" y="1390"/>
                    </a:cubicBezTo>
                    <a:lnTo>
                      <a:pt x="767" y="4507"/>
                    </a:lnTo>
                    <a:cubicBezTo>
                      <a:pt x="482" y="4561"/>
                      <a:pt x="214" y="4383"/>
                      <a:pt x="161" y="4098"/>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275;p34">
                <a:extLst>
                  <a:ext uri="{FF2B5EF4-FFF2-40B4-BE49-F238E27FC236}">
                    <a16:creationId xmlns:a16="http://schemas.microsoft.com/office/drawing/2014/main" id="{BDAC2EB9-5878-D873-ED45-139D075C4E70}"/>
                  </a:ext>
                </a:extLst>
              </p:cNvPr>
              <p:cNvSpPr/>
              <p:nvPr/>
            </p:nvSpPr>
            <p:spPr>
              <a:xfrm>
                <a:off x="1365799" y="2636719"/>
                <a:ext cx="115842" cy="432897"/>
              </a:xfrm>
              <a:custGeom>
                <a:avLst/>
                <a:gdLst/>
                <a:ahLst/>
                <a:cxnLst/>
                <a:rect l="l" t="t" r="r" b="b"/>
                <a:pathLst>
                  <a:path w="3528" h="13184" fill="none" extrusionOk="0">
                    <a:moveTo>
                      <a:pt x="2530" y="13183"/>
                    </a:moveTo>
                    <a:lnTo>
                      <a:pt x="0" y="197"/>
                    </a:lnTo>
                    <a:lnTo>
                      <a:pt x="998" y="1"/>
                    </a:lnTo>
                    <a:lnTo>
                      <a:pt x="3527" y="12987"/>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1" name="Google Shape;276;p34">
                <a:extLst>
                  <a:ext uri="{FF2B5EF4-FFF2-40B4-BE49-F238E27FC236}">
                    <a16:creationId xmlns:a16="http://schemas.microsoft.com/office/drawing/2014/main" id="{8A85F7E9-25C1-CAEF-6D4B-8319C6084FDB}"/>
                  </a:ext>
                </a:extLst>
              </p:cNvPr>
              <p:cNvSpPr/>
              <p:nvPr/>
            </p:nvSpPr>
            <p:spPr>
              <a:xfrm>
                <a:off x="1549443" y="2765989"/>
                <a:ext cx="84846" cy="267934"/>
              </a:xfrm>
              <a:custGeom>
                <a:avLst/>
                <a:gdLst/>
                <a:ahLst/>
                <a:cxnLst/>
                <a:rect l="l" t="t" r="r" b="b"/>
                <a:pathLst>
                  <a:path w="2584" h="8160" fill="none" extrusionOk="0">
                    <a:moveTo>
                      <a:pt x="998" y="1"/>
                    </a:moveTo>
                    <a:lnTo>
                      <a:pt x="2584" y="7964"/>
                    </a:lnTo>
                    <a:lnTo>
                      <a:pt x="1586" y="8160"/>
                    </a:lnTo>
                    <a:lnTo>
                      <a:pt x="1" y="197"/>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2" name="Google Shape;277;p34">
                <a:extLst>
                  <a:ext uri="{FF2B5EF4-FFF2-40B4-BE49-F238E27FC236}">
                    <a16:creationId xmlns:a16="http://schemas.microsoft.com/office/drawing/2014/main" id="{056848DA-2880-4F6B-EA5D-8C1C2B688CE8}"/>
                  </a:ext>
                </a:extLst>
              </p:cNvPr>
              <p:cNvSpPr/>
              <p:nvPr/>
            </p:nvSpPr>
            <p:spPr>
              <a:xfrm>
                <a:off x="1641873" y="2453633"/>
                <a:ext cx="139844" cy="551037"/>
              </a:xfrm>
              <a:custGeom>
                <a:avLst/>
                <a:gdLst/>
                <a:ahLst/>
                <a:cxnLst/>
                <a:rect l="l" t="t" r="r" b="b"/>
                <a:pathLst>
                  <a:path w="4259" h="16782" fill="none" extrusionOk="0">
                    <a:moveTo>
                      <a:pt x="3261" y="16782"/>
                    </a:moveTo>
                    <a:lnTo>
                      <a:pt x="0" y="197"/>
                    </a:lnTo>
                    <a:lnTo>
                      <a:pt x="998" y="1"/>
                    </a:lnTo>
                    <a:lnTo>
                      <a:pt x="4258" y="16586"/>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278;p34">
                <a:extLst>
                  <a:ext uri="{FF2B5EF4-FFF2-40B4-BE49-F238E27FC236}">
                    <a16:creationId xmlns:a16="http://schemas.microsoft.com/office/drawing/2014/main" id="{DD528709-B462-1B09-9BBB-C78F0D9F1B40}"/>
                  </a:ext>
                </a:extLst>
              </p:cNvPr>
              <p:cNvSpPr/>
              <p:nvPr/>
            </p:nvSpPr>
            <p:spPr>
              <a:xfrm>
                <a:off x="1831985" y="2644337"/>
                <a:ext cx="97126" cy="331108"/>
              </a:xfrm>
              <a:custGeom>
                <a:avLst/>
                <a:gdLst/>
                <a:ahLst/>
                <a:cxnLst/>
                <a:rect l="l" t="t" r="r" b="b"/>
                <a:pathLst>
                  <a:path w="2958" h="10084" fill="none" extrusionOk="0">
                    <a:moveTo>
                      <a:pt x="1960" y="10083"/>
                    </a:moveTo>
                    <a:lnTo>
                      <a:pt x="0" y="196"/>
                    </a:lnTo>
                    <a:lnTo>
                      <a:pt x="998" y="0"/>
                    </a:lnTo>
                    <a:lnTo>
                      <a:pt x="2957" y="9887"/>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279;p34">
                <a:extLst>
                  <a:ext uri="{FF2B5EF4-FFF2-40B4-BE49-F238E27FC236}">
                    <a16:creationId xmlns:a16="http://schemas.microsoft.com/office/drawing/2014/main" id="{9F908240-07D6-E654-E610-187407073F35}"/>
                  </a:ext>
                </a:extLst>
              </p:cNvPr>
              <p:cNvSpPr/>
              <p:nvPr/>
            </p:nvSpPr>
            <p:spPr>
              <a:xfrm>
                <a:off x="1959483" y="2513293"/>
                <a:ext cx="117024" cy="433488"/>
              </a:xfrm>
              <a:custGeom>
                <a:avLst/>
                <a:gdLst/>
                <a:ahLst/>
                <a:cxnLst/>
                <a:rect l="l" t="t" r="r" b="b"/>
                <a:pathLst>
                  <a:path w="3564" h="13202" fill="none" extrusionOk="0">
                    <a:moveTo>
                      <a:pt x="2566" y="13201"/>
                    </a:moveTo>
                    <a:lnTo>
                      <a:pt x="1" y="197"/>
                    </a:lnTo>
                    <a:lnTo>
                      <a:pt x="998" y="1"/>
                    </a:lnTo>
                    <a:lnTo>
                      <a:pt x="3564" y="13005"/>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5" name="Google Shape;280;p34">
                <a:extLst>
                  <a:ext uri="{FF2B5EF4-FFF2-40B4-BE49-F238E27FC236}">
                    <a16:creationId xmlns:a16="http://schemas.microsoft.com/office/drawing/2014/main" id="{7F22AB83-BBB0-462F-753C-F3874D5FA123}"/>
                  </a:ext>
                </a:extLst>
              </p:cNvPr>
              <p:cNvSpPr/>
              <p:nvPr/>
            </p:nvSpPr>
            <p:spPr>
              <a:xfrm>
                <a:off x="2106877" y="2484629"/>
                <a:ext cx="117024" cy="432897"/>
              </a:xfrm>
              <a:custGeom>
                <a:avLst/>
                <a:gdLst/>
                <a:ahLst/>
                <a:cxnLst/>
                <a:rect l="l" t="t" r="r" b="b"/>
                <a:pathLst>
                  <a:path w="3564" h="13184" fill="none" extrusionOk="0">
                    <a:moveTo>
                      <a:pt x="2566" y="13184"/>
                    </a:moveTo>
                    <a:lnTo>
                      <a:pt x="1" y="197"/>
                    </a:lnTo>
                    <a:lnTo>
                      <a:pt x="998" y="1"/>
                    </a:lnTo>
                    <a:lnTo>
                      <a:pt x="3564" y="12988"/>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6" name="Google Shape;281;p34">
                <a:extLst>
                  <a:ext uri="{FF2B5EF4-FFF2-40B4-BE49-F238E27FC236}">
                    <a16:creationId xmlns:a16="http://schemas.microsoft.com/office/drawing/2014/main" id="{D03AB905-8076-FDF6-E7C3-0861AF721729}"/>
                  </a:ext>
                </a:extLst>
              </p:cNvPr>
              <p:cNvSpPr/>
              <p:nvPr/>
            </p:nvSpPr>
            <p:spPr>
              <a:xfrm>
                <a:off x="2254305" y="2455406"/>
                <a:ext cx="116991" cy="433455"/>
              </a:xfrm>
              <a:custGeom>
                <a:avLst/>
                <a:gdLst/>
                <a:ahLst/>
                <a:cxnLst/>
                <a:rect l="l" t="t" r="r" b="b"/>
                <a:pathLst>
                  <a:path w="3563" h="13201" fill="none" extrusionOk="0">
                    <a:moveTo>
                      <a:pt x="2565" y="13201"/>
                    </a:moveTo>
                    <a:lnTo>
                      <a:pt x="0" y="196"/>
                    </a:lnTo>
                    <a:lnTo>
                      <a:pt x="998" y="0"/>
                    </a:lnTo>
                    <a:lnTo>
                      <a:pt x="3563" y="13005"/>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7" name="Google Shape;282;p34">
                <a:extLst>
                  <a:ext uri="{FF2B5EF4-FFF2-40B4-BE49-F238E27FC236}">
                    <a16:creationId xmlns:a16="http://schemas.microsoft.com/office/drawing/2014/main" id="{B349370F-1E8E-3CBE-ABD1-4D4139D94477}"/>
                  </a:ext>
                </a:extLst>
              </p:cNvPr>
              <p:cNvSpPr/>
              <p:nvPr/>
            </p:nvSpPr>
            <p:spPr>
              <a:xfrm>
                <a:off x="2478303" y="2670637"/>
                <a:ext cx="67903" cy="183712"/>
              </a:xfrm>
              <a:custGeom>
                <a:avLst/>
                <a:gdLst/>
                <a:ahLst/>
                <a:cxnLst/>
                <a:rect l="l" t="t" r="r" b="b"/>
                <a:pathLst>
                  <a:path w="2068" h="5595" fill="none" extrusionOk="0">
                    <a:moveTo>
                      <a:pt x="1070" y="5595"/>
                    </a:moveTo>
                    <a:lnTo>
                      <a:pt x="1" y="197"/>
                    </a:lnTo>
                    <a:lnTo>
                      <a:pt x="999" y="1"/>
                    </a:lnTo>
                    <a:lnTo>
                      <a:pt x="2067" y="5399"/>
                    </a:ln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8" name="Google Shape;283;p34">
                <a:extLst>
                  <a:ext uri="{FF2B5EF4-FFF2-40B4-BE49-F238E27FC236}">
                    <a16:creationId xmlns:a16="http://schemas.microsoft.com/office/drawing/2014/main" id="{C1548E92-0E7B-6396-57DE-38110C2F3A9B}"/>
                  </a:ext>
                </a:extLst>
              </p:cNvPr>
              <p:cNvSpPr/>
              <p:nvPr/>
            </p:nvSpPr>
            <p:spPr>
              <a:xfrm>
                <a:off x="1399126" y="2873030"/>
                <a:ext cx="1336023" cy="256244"/>
              </a:xfrm>
              <a:custGeom>
                <a:avLst/>
                <a:gdLst/>
                <a:ahLst/>
                <a:cxnLst/>
                <a:rect l="l" t="t" r="r" b="b"/>
                <a:pathLst>
                  <a:path w="40689" h="7804" fill="none" extrusionOk="0">
                    <a:moveTo>
                      <a:pt x="40688" y="1"/>
                    </a:moveTo>
                    <a:lnTo>
                      <a:pt x="1" y="7803"/>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17" name="Google Shape;284;p34">
              <a:extLst>
                <a:ext uri="{FF2B5EF4-FFF2-40B4-BE49-F238E27FC236}">
                  <a16:creationId xmlns:a16="http://schemas.microsoft.com/office/drawing/2014/main" id="{C9C850A0-BE6D-F428-C76C-2F805E8DFEFE}"/>
                </a:ext>
              </a:extLst>
            </p:cNvPr>
            <p:cNvGrpSpPr/>
            <p:nvPr/>
          </p:nvGrpSpPr>
          <p:grpSpPr>
            <a:xfrm>
              <a:off x="7524694" y="2964516"/>
              <a:ext cx="953591" cy="334099"/>
              <a:chOff x="2271950" y="2722775"/>
              <a:chExt cx="575875" cy="201775"/>
            </a:xfrm>
            <a:grpFill/>
          </p:grpSpPr>
          <p:sp>
            <p:nvSpPr>
              <p:cNvPr id="50" name="Google Shape;285;p34">
                <a:extLst>
                  <a:ext uri="{FF2B5EF4-FFF2-40B4-BE49-F238E27FC236}">
                    <a16:creationId xmlns:a16="http://schemas.microsoft.com/office/drawing/2014/main" id="{F7E8A0DE-3971-38AA-1960-0E3A525FBCF1}"/>
                  </a:ext>
                </a:extLst>
              </p:cNvPr>
              <p:cNvSpPr/>
              <p:nvPr/>
            </p:nvSpPr>
            <p:spPr>
              <a:xfrm>
                <a:off x="2562325" y="2722775"/>
                <a:ext cx="285500" cy="201775"/>
              </a:xfrm>
              <a:custGeom>
                <a:avLst/>
                <a:gdLst/>
                <a:ahLst/>
                <a:cxnLst/>
                <a:rect l="l" t="t" r="r" b="b"/>
                <a:pathLst>
                  <a:path w="11420" h="8071" fill="none" extrusionOk="0">
                    <a:moveTo>
                      <a:pt x="0" y="0"/>
                    </a:moveTo>
                    <a:cubicBezTo>
                      <a:pt x="2280" y="0"/>
                      <a:pt x="4240" y="1639"/>
                      <a:pt x="4668" y="3884"/>
                    </a:cubicBezTo>
                    <a:cubicBezTo>
                      <a:pt x="6395" y="3403"/>
                      <a:pt x="8177" y="4418"/>
                      <a:pt x="8640" y="6164"/>
                    </a:cubicBezTo>
                    <a:cubicBezTo>
                      <a:pt x="9976" y="5594"/>
                      <a:pt x="11419" y="6645"/>
                      <a:pt x="11294" y="8070"/>
                    </a:cubicBezTo>
                    <a:lnTo>
                      <a:pt x="8444" y="8070"/>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1" name="Google Shape;286;p34">
                <a:extLst>
                  <a:ext uri="{FF2B5EF4-FFF2-40B4-BE49-F238E27FC236}">
                    <a16:creationId xmlns:a16="http://schemas.microsoft.com/office/drawing/2014/main" id="{C1A7A2E4-4760-58BD-ED05-BFE0C3101334}"/>
                  </a:ext>
                </a:extLst>
              </p:cNvPr>
              <p:cNvSpPr/>
              <p:nvPr/>
            </p:nvSpPr>
            <p:spPr>
              <a:xfrm>
                <a:off x="2501750" y="2722775"/>
                <a:ext cx="36100" cy="13375"/>
              </a:xfrm>
              <a:custGeom>
                <a:avLst/>
                <a:gdLst/>
                <a:ahLst/>
                <a:cxnLst/>
                <a:rect l="l" t="t" r="r" b="b"/>
                <a:pathLst>
                  <a:path w="1444" h="535" fill="none" extrusionOk="0">
                    <a:moveTo>
                      <a:pt x="1443" y="0"/>
                    </a:moveTo>
                    <a:cubicBezTo>
                      <a:pt x="1443" y="0"/>
                      <a:pt x="428" y="107"/>
                      <a:pt x="0" y="535"/>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287;p34">
                <a:extLst>
                  <a:ext uri="{FF2B5EF4-FFF2-40B4-BE49-F238E27FC236}">
                    <a16:creationId xmlns:a16="http://schemas.microsoft.com/office/drawing/2014/main" id="{DD271BF9-1A8B-15AF-82B6-9455CA7C7185}"/>
                  </a:ext>
                </a:extLst>
              </p:cNvPr>
              <p:cNvSpPr/>
              <p:nvPr/>
            </p:nvSpPr>
            <p:spPr>
              <a:xfrm>
                <a:off x="2271950" y="2870625"/>
                <a:ext cx="477450" cy="53475"/>
              </a:xfrm>
              <a:custGeom>
                <a:avLst/>
                <a:gdLst/>
                <a:ahLst/>
                <a:cxnLst/>
                <a:rect l="l" t="t" r="r" b="b"/>
                <a:pathLst>
                  <a:path w="19098" h="2139" fill="none" extrusionOk="0">
                    <a:moveTo>
                      <a:pt x="19097" y="2138"/>
                    </a:moveTo>
                    <a:lnTo>
                      <a:pt x="0" y="2138"/>
                    </a:lnTo>
                    <a:cubicBezTo>
                      <a:pt x="0" y="2138"/>
                      <a:pt x="374" y="1"/>
                      <a:pt x="2476" y="179"/>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3" name="Google Shape;288;p34">
                <a:extLst>
                  <a:ext uri="{FF2B5EF4-FFF2-40B4-BE49-F238E27FC236}">
                    <a16:creationId xmlns:a16="http://schemas.microsoft.com/office/drawing/2014/main" id="{E1B352C4-DCA7-7FE7-F457-2E1D141BDEB7}"/>
                  </a:ext>
                </a:extLst>
              </p:cNvPr>
              <p:cNvSpPr/>
              <p:nvPr/>
            </p:nvSpPr>
            <p:spPr>
              <a:xfrm>
                <a:off x="2709725" y="2836775"/>
                <a:ext cx="39675" cy="20950"/>
              </a:xfrm>
              <a:custGeom>
                <a:avLst/>
                <a:gdLst/>
                <a:ahLst/>
                <a:cxnLst/>
                <a:rect l="l" t="t" r="r" b="b"/>
                <a:pathLst>
                  <a:path w="1587" h="838" fill="none" extrusionOk="0">
                    <a:moveTo>
                      <a:pt x="1" y="1"/>
                    </a:moveTo>
                    <a:cubicBezTo>
                      <a:pt x="1" y="1"/>
                      <a:pt x="1159" y="108"/>
                      <a:pt x="1586" y="838"/>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4" name="Google Shape;289;p34">
                <a:extLst>
                  <a:ext uri="{FF2B5EF4-FFF2-40B4-BE49-F238E27FC236}">
                    <a16:creationId xmlns:a16="http://schemas.microsoft.com/office/drawing/2014/main" id="{712289B1-766A-B351-1633-22962443A827}"/>
                  </a:ext>
                </a:extLst>
              </p:cNvPr>
              <p:cNvSpPr/>
              <p:nvPr/>
            </p:nvSpPr>
            <p:spPr>
              <a:xfrm>
                <a:off x="2375275" y="2798475"/>
                <a:ext cx="85075" cy="27200"/>
              </a:xfrm>
              <a:custGeom>
                <a:avLst/>
                <a:gdLst/>
                <a:ahLst/>
                <a:cxnLst/>
                <a:rect l="l" t="t" r="r" b="b"/>
                <a:pathLst>
                  <a:path w="3403" h="1088" fill="none" extrusionOk="0">
                    <a:moveTo>
                      <a:pt x="3403" y="357"/>
                    </a:moveTo>
                    <a:cubicBezTo>
                      <a:pt x="3403" y="357"/>
                      <a:pt x="1301" y="1"/>
                      <a:pt x="0" y="1087"/>
                    </a:cubicBez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18" name="Google Shape;290;p34">
              <a:extLst>
                <a:ext uri="{FF2B5EF4-FFF2-40B4-BE49-F238E27FC236}">
                  <a16:creationId xmlns:a16="http://schemas.microsoft.com/office/drawing/2014/main" id="{55A673EF-2E84-037B-ED38-F119E1A8A3F0}"/>
                </a:ext>
              </a:extLst>
            </p:cNvPr>
            <p:cNvGrpSpPr/>
            <p:nvPr/>
          </p:nvGrpSpPr>
          <p:grpSpPr>
            <a:xfrm>
              <a:off x="7653574" y="1141618"/>
              <a:ext cx="695830" cy="643529"/>
              <a:chOff x="3407216" y="1944760"/>
              <a:chExt cx="535831" cy="495479"/>
            </a:xfrm>
            <a:grpFill/>
          </p:grpSpPr>
          <p:sp>
            <p:nvSpPr>
              <p:cNvPr id="47" name="Google Shape;291;p34">
                <a:extLst>
                  <a:ext uri="{FF2B5EF4-FFF2-40B4-BE49-F238E27FC236}">
                    <a16:creationId xmlns:a16="http://schemas.microsoft.com/office/drawing/2014/main" id="{5C2C72E6-0BBE-2B90-90C5-32E0738E5F10}"/>
                  </a:ext>
                </a:extLst>
              </p:cNvPr>
              <p:cNvSpPr/>
              <p:nvPr/>
            </p:nvSpPr>
            <p:spPr>
              <a:xfrm>
                <a:off x="3747055" y="2059977"/>
                <a:ext cx="195992" cy="130486"/>
              </a:xfrm>
              <a:custGeom>
                <a:avLst/>
                <a:gdLst/>
                <a:ahLst/>
                <a:cxnLst/>
                <a:rect l="l" t="t" r="r" b="b"/>
                <a:pathLst>
                  <a:path w="5969" h="3974" extrusionOk="0">
                    <a:moveTo>
                      <a:pt x="1" y="3973"/>
                    </a:moveTo>
                    <a:lnTo>
                      <a:pt x="5968" y="3973"/>
                    </a:lnTo>
                    <a:cubicBezTo>
                      <a:pt x="5951" y="2495"/>
                      <a:pt x="5380" y="1087"/>
                      <a:pt x="4383" y="1"/>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292;p34">
                <a:extLst>
                  <a:ext uri="{FF2B5EF4-FFF2-40B4-BE49-F238E27FC236}">
                    <a16:creationId xmlns:a16="http://schemas.microsoft.com/office/drawing/2014/main" id="{1D5708E6-3ED0-31DF-E878-BF7F5DC02F76}"/>
                  </a:ext>
                </a:extLst>
              </p:cNvPr>
              <p:cNvSpPr/>
              <p:nvPr/>
            </p:nvSpPr>
            <p:spPr>
              <a:xfrm>
                <a:off x="3715468" y="1944760"/>
                <a:ext cx="143916" cy="193628"/>
              </a:xfrm>
              <a:custGeom>
                <a:avLst/>
                <a:gdLst/>
                <a:ahLst/>
                <a:cxnLst/>
                <a:rect l="l" t="t" r="r" b="b"/>
                <a:pathLst>
                  <a:path w="4383" h="5897" extrusionOk="0">
                    <a:moveTo>
                      <a:pt x="1" y="0"/>
                    </a:moveTo>
                    <a:lnTo>
                      <a:pt x="1" y="5897"/>
                    </a:lnTo>
                    <a:lnTo>
                      <a:pt x="4383" y="1924"/>
                    </a:lnTo>
                    <a:cubicBezTo>
                      <a:pt x="3261" y="695"/>
                      <a:pt x="1675" y="0"/>
                      <a:pt x="1" y="0"/>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293;p34">
                <a:extLst>
                  <a:ext uri="{FF2B5EF4-FFF2-40B4-BE49-F238E27FC236}">
                    <a16:creationId xmlns:a16="http://schemas.microsoft.com/office/drawing/2014/main" id="{D2603039-4C2D-368C-F5FA-8EC357D26A0A}"/>
                  </a:ext>
                </a:extLst>
              </p:cNvPr>
              <p:cNvSpPr/>
              <p:nvPr/>
            </p:nvSpPr>
            <p:spPr>
              <a:xfrm>
                <a:off x="3407216" y="2031904"/>
                <a:ext cx="459197" cy="408336"/>
              </a:xfrm>
              <a:custGeom>
                <a:avLst/>
                <a:gdLst/>
                <a:ahLst/>
                <a:cxnLst/>
                <a:rect l="l" t="t" r="r" b="b"/>
                <a:pathLst>
                  <a:path w="13985" h="12436" extrusionOk="0">
                    <a:moveTo>
                      <a:pt x="13985" y="5986"/>
                    </a:moveTo>
                    <a:lnTo>
                      <a:pt x="13985" y="5897"/>
                    </a:lnTo>
                    <a:lnTo>
                      <a:pt x="7999" y="5897"/>
                    </a:lnTo>
                    <a:lnTo>
                      <a:pt x="7999" y="1"/>
                    </a:lnTo>
                    <a:cubicBezTo>
                      <a:pt x="2673" y="1"/>
                      <a:pt x="0" y="6449"/>
                      <a:pt x="3777" y="10208"/>
                    </a:cubicBezTo>
                    <a:cubicBezTo>
                      <a:pt x="5487" y="11918"/>
                      <a:pt x="8053" y="12435"/>
                      <a:pt x="10297" y="11509"/>
                    </a:cubicBezTo>
                    <a:cubicBezTo>
                      <a:pt x="12524" y="10582"/>
                      <a:pt x="13985" y="8409"/>
                      <a:pt x="13985" y="5986"/>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9" name="Google Shape;294;p34">
              <a:extLst>
                <a:ext uri="{FF2B5EF4-FFF2-40B4-BE49-F238E27FC236}">
                  <a16:creationId xmlns:a16="http://schemas.microsoft.com/office/drawing/2014/main" id="{7E77FEAE-1D6A-9D0E-6454-27E6311F909D}"/>
                </a:ext>
              </a:extLst>
            </p:cNvPr>
            <p:cNvSpPr/>
            <p:nvPr/>
          </p:nvSpPr>
          <p:spPr>
            <a:xfrm>
              <a:off x="8170289" y="4203881"/>
              <a:ext cx="140247" cy="141086"/>
            </a:xfrm>
            <a:custGeom>
              <a:avLst/>
              <a:gdLst/>
              <a:ahLst/>
              <a:cxnLst/>
              <a:rect l="l" t="t" r="r" b="b"/>
              <a:pathLst>
                <a:path w="3065" h="3083" fill="none" extrusionOk="0">
                  <a:moveTo>
                    <a:pt x="3065" y="1551"/>
                  </a:moveTo>
                  <a:cubicBezTo>
                    <a:pt x="3065" y="2388"/>
                    <a:pt x="2388" y="3083"/>
                    <a:pt x="1533" y="3083"/>
                  </a:cubicBezTo>
                  <a:cubicBezTo>
                    <a:pt x="678" y="3083"/>
                    <a:pt x="1" y="2388"/>
                    <a:pt x="1" y="1551"/>
                  </a:cubicBezTo>
                  <a:cubicBezTo>
                    <a:pt x="1" y="696"/>
                    <a:pt x="678" y="1"/>
                    <a:pt x="1533" y="1"/>
                  </a:cubicBezTo>
                  <a:cubicBezTo>
                    <a:pt x="2388" y="1"/>
                    <a:pt x="3065" y="696"/>
                    <a:pt x="3065" y="155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Google Shape;295;p34">
              <a:extLst>
                <a:ext uri="{FF2B5EF4-FFF2-40B4-BE49-F238E27FC236}">
                  <a16:creationId xmlns:a16="http://schemas.microsoft.com/office/drawing/2014/main" id="{F38542DF-922B-61F8-23AD-C97A204329BD}"/>
                </a:ext>
              </a:extLst>
            </p:cNvPr>
            <p:cNvSpPr/>
            <p:nvPr/>
          </p:nvSpPr>
          <p:spPr>
            <a:xfrm>
              <a:off x="8030063" y="757530"/>
              <a:ext cx="140247" cy="140224"/>
            </a:xfrm>
            <a:custGeom>
              <a:avLst/>
              <a:gdLst/>
              <a:ahLst/>
              <a:cxnLst/>
              <a:rect l="l" t="t" r="r" b="b"/>
              <a:pathLst>
                <a:path w="3065" h="3065" extrusionOk="0">
                  <a:moveTo>
                    <a:pt x="3064" y="1532"/>
                  </a:moveTo>
                  <a:cubicBezTo>
                    <a:pt x="3064" y="2387"/>
                    <a:pt x="2387" y="3064"/>
                    <a:pt x="1532" y="3064"/>
                  </a:cubicBezTo>
                  <a:cubicBezTo>
                    <a:pt x="677" y="3064"/>
                    <a:pt x="0" y="2387"/>
                    <a:pt x="0" y="1532"/>
                  </a:cubicBezTo>
                  <a:cubicBezTo>
                    <a:pt x="0" y="677"/>
                    <a:pt x="677" y="0"/>
                    <a:pt x="1532" y="0"/>
                  </a:cubicBezTo>
                  <a:cubicBezTo>
                    <a:pt x="2387" y="0"/>
                    <a:pt x="3064" y="677"/>
                    <a:pt x="3064" y="1532"/>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96;p34">
              <a:extLst>
                <a:ext uri="{FF2B5EF4-FFF2-40B4-BE49-F238E27FC236}">
                  <a16:creationId xmlns:a16="http://schemas.microsoft.com/office/drawing/2014/main" id="{D8161F72-E1E2-236C-9E30-B4F957B7ED86}"/>
                </a:ext>
              </a:extLst>
            </p:cNvPr>
            <p:cNvSpPr/>
            <p:nvPr/>
          </p:nvSpPr>
          <p:spPr>
            <a:xfrm>
              <a:off x="5256650" y="3893001"/>
              <a:ext cx="262479" cy="262448"/>
            </a:xfrm>
            <a:custGeom>
              <a:avLst/>
              <a:gdLst/>
              <a:ahLst/>
              <a:cxnLst/>
              <a:rect l="l" t="t" r="r" b="b"/>
              <a:pathLst>
                <a:path w="3065" h="3065" extrusionOk="0">
                  <a:moveTo>
                    <a:pt x="3064" y="1532"/>
                  </a:moveTo>
                  <a:cubicBezTo>
                    <a:pt x="3064" y="2387"/>
                    <a:pt x="2387" y="3064"/>
                    <a:pt x="1532" y="3064"/>
                  </a:cubicBezTo>
                  <a:cubicBezTo>
                    <a:pt x="677" y="3064"/>
                    <a:pt x="0" y="2387"/>
                    <a:pt x="0" y="1532"/>
                  </a:cubicBezTo>
                  <a:cubicBezTo>
                    <a:pt x="0" y="677"/>
                    <a:pt x="677" y="0"/>
                    <a:pt x="1532" y="0"/>
                  </a:cubicBezTo>
                  <a:cubicBezTo>
                    <a:pt x="2387" y="0"/>
                    <a:pt x="3064" y="677"/>
                    <a:pt x="3064" y="1532"/>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97;p34">
              <a:extLst>
                <a:ext uri="{FF2B5EF4-FFF2-40B4-BE49-F238E27FC236}">
                  <a16:creationId xmlns:a16="http://schemas.microsoft.com/office/drawing/2014/main" id="{D0BC89FB-B403-7EC4-F462-E7E102F281BD}"/>
                </a:ext>
              </a:extLst>
            </p:cNvPr>
            <p:cNvSpPr/>
            <p:nvPr/>
          </p:nvSpPr>
          <p:spPr>
            <a:xfrm>
              <a:off x="7082963" y="910513"/>
              <a:ext cx="213431" cy="214685"/>
            </a:xfrm>
            <a:custGeom>
              <a:avLst/>
              <a:gdLst/>
              <a:ahLst/>
              <a:cxnLst/>
              <a:rect l="l" t="t" r="r" b="b"/>
              <a:pathLst>
                <a:path w="3065" h="3083" fill="none" extrusionOk="0">
                  <a:moveTo>
                    <a:pt x="3065" y="1551"/>
                  </a:moveTo>
                  <a:cubicBezTo>
                    <a:pt x="3065" y="2388"/>
                    <a:pt x="2388" y="3083"/>
                    <a:pt x="1533" y="3083"/>
                  </a:cubicBezTo>
                  <a:cubicBezTo>
                    <a:pt x="678" y="3083"/>
                    <a:pt x="1" y="2388"/>
                    <a:pt x="1" y="1551"/>
                  </a:cubicBezTo>
                  <a:cubicBezTo>
                    <a:pt x="1" y="696"/>
                    <a:pt x="678" y="1"/>
                    <a:pt x="1533" y="1"/>
                  </a:cubicBezTo>
                  <a:cubicBezTo>
                    <a:pt x="2388" y="1"/>
                    <a:pt x="3065" y="696"/>
                    <a:pt x="3065" y="155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298;p34">
              <a:extLst>
                <a:ext uri="{FF2B5EF4-FFF2-40B4-BE49-F238E27FC236}">
                  <a16:creationId xmlns:a16="http://schemas.microsoft.com/office/drawing/2014/main" id="{A03B7FAA-516A-A91F-8AE3-FF0FDF9F846C}"/>
                </a:ext>
              </a:extLst>
            </p:cNvPr>
            <p:cNvSpPr/>
            <p:nvPr/>
          </p:nvSpPr>
          <p:spPr>
            <a:xfrm>
              <a:off x="6167928" y="1140665"/>
              <a:ext cx="107827" cy="107819"/>
            </a:xfrm>
            <a:custGeom>
              <a:avLst/>
              <a:gdLst/>
              <a:ahLst/>
              <a:cxnLst/>
              <a:rect l="l" t="t" r="r" b="b"/>
              <a:pathLst>
                <a:path w="3065" h="3065" extrusionOk="0">
                  <a:moveTo>
                    <a:pt x="3064" y="1532"/>
                  </a:moveTo>
                  <a:cubicBezTo>
                    <a:pt x="3064" y="2387"/>
                    <a:pt x="2387" y="3064"/>
                    <a:pt x="1532" y="3064"/>
                  </a:cubicBezTo>
                  <a:cubicBezTo>
                    <a:pt x="677" y="3064"/>
                    <a:pt x="0" y="2387"/>
                    <a:pt x="0" y="1532"/>
                  </a:cubicBezTo>
                  <a:cubicBezTo>
                    <a:pt x="0" y="677"/>
                    <a:pt x="677" y="0"/>
                    <a:pt x="1532" y="0"/>
                  </a:cubicBezTo>
                  <a:cubicBezTo>
                    <a:pt x="2387" y="0"/>
                    <a:pt x="3064" y="677"/>
                    <a:pt x="3064" y="1532"/>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5" name="Google Shape;300;p34">
              <a:extLst>
                <a:ext uri="{FF2B5EF4-FFF2-40B4-BE49-F238E27FC236}">
                  <a16:creationId xmlns:a16="http://schemas.microsoft.com/office/drawing/2014/main" id="{F2DA68A2-7A65-6264-4AE4-D2ADD0511758}"/>
                </a:ext>
              </a:extLst>
            </p:cNvPr>
            <p:cNvSpPr/>
            <p:nvPr/>
          </p:nvSpPr>
          <p:spPr>
            <a:xfrm>
              <a:off x="5692426" y="4028640"/>
              <a:ext cx="416654" cy="491569"/>
            </a:xfrm>
            <a:custGeom>
              <a:avLst/>
              <a:gdLst/>
              <a:ahLst/>
              <a:cxnLst/>
              <a:rect l="l" t="t" r="r" b="b"/>
              <a:pathLst>
                <a:path w="6040" h="7126" extrusionOk="0">
                  <a:moveTo>
                    <a:pt x="5844" y="2726"/>
                  </a:moveTo>
                  <a:lnTo>
                    <a:pt x="3225" y="107"/>
                  </a:lnTo>
                  <a:cubicBezTo>
                    <a:pt x="3118" y="0"/>
                    <a:pt x="2922" y="0"/>
                    <a:pt x="2815" y="107"/>
                  </a:cubicBezTo>
                  <a:lnTo>
                    <a:pt x="197" y="2726"/>
                  </a:lnTo>
                  <a:cubicBezTo>
                    <a:pt x="1" y="2922"/>
                    <a:pt x="143" y="3260"/>
                    <a:pt x="410" y="3242"/>
                  </a:cubicBezTo>
                  <a:lnTo>
                    <a:pt x="749" y="3242"/>
                  </a:lnTo>
                  <a:cubicBezTo>
                    <a:pt x="909" y="3242"/>
                    <a:pt x="1052" y="3367"/>
                    <a:pt x="1052" y="3545"/>
                  </a:cubicBezTo>
                  <a:lnTo>
                    <a:pt x="1052" y="6823"/>
                  </a:lnTo>
                  <a:cubicBezTo>
                    <a:pt x="1052" y="6983"/>
                    <a:pt x="1177" y="7126"/>
                    <a:pt x="1337" y="7126"/>
                  </a:cubicBezTo>
                  <a:lnTo>
                    <a:pt x="4722" y="7126"/>
                  </a:lnTo>
                  <a:cubicBezTo>
                    <a:pt x="4864" y="7108"/>
                    <a:pt x="4989" y="6983"/>
                    <a:pt x="4989" y="6823"/>
                  </a:cubicBezTo>
                  <a:lnTo>
                    <a:pt x="4989" y="3545"/>
                  </a:lnTo>
                  <a:cubicBezTo>
                    <a:pt x="4989" y="3367"/>
                    <a:pt x="5131" y="3242"/>
                    <a:pt x="5292" y="3242"/>
                  </a:cubicBezTo>
                  <a:lnTo>
                    <a:pt x="5630" y="3242"/>
                  </a:lnTo>
                  <a:cubicBezTo>
                    <a:pt x="5897" y="3242"/>
                    <a:pt x="6040" y="2922"/>
                    <a:pt x="5844" y="2726"/>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301;p34">
              <a:extLst>
                <a:ext uri="{FF2B5EF4-FFF2-40B4-BE49-F238E27FC236}">
                  <a16:creationId xmlns:a16="http://schemas.microsoft.com/office/drawing/2014/main" id="{1B2CF307-2240-769D-C321-5AE143816C82}"/>
                </a:ext>
              </a:extLst>
            </p:cNvPr>
            <p:cNvSpPr/>
            <p:nvPr/>
          </p:nvSpPr>
          <p:spPr>
            <a:xfrm rot="-1685758">
              <a:off x="6377366" y="1295459"/>
              <a:ext cx="59549" cy="60168"/>
            </a:xfrm>
            <a:custGeom>
              <a:avLst/>
              <a:gdLst/>
              <a:ahLst/>
              <a:cxnLst/>
              <a:rect l="l" t="t" r="r" b="b"/>
              <a:pathLst>
                <a:path w="1729" h="1747" fill="none" extrusionOk="0">
                  <a:moveTo>
                    <a:pt x="1729" y="749"/>
                  </a:moveTo>
                  <a:cubicBezTo>
                    <a:pt x="1729" y="1408"/>
                    <a:pt x="927" y="1746"/>
                    <a:pt x="464" y="1265"/>
                  </a:cubicBezTo>
                  <a:cubicBezTo>
                    <a:pt x="1" y="802"/>
                    <a:pt x="322" y="1"/>
                    <a:pt x="998" y="1"/>
                  </a:cubicBezTo>
                  <a:cubicBezTo>
                    <a:pt x="1408" y="1"/>
                    <a:pt x="1729" y="339"/>
                    <a:pt x="1729" y="749"/>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302;p34">
              <a:extLst>
                <a:ext uri="{FF2B5EF4-FFF2-40B4-BE49-F238E27FC236}">
                  <a16:creationId xmlns:a16="http://schemas.microsoft.com/office/drawing/2014/main" id="{D9276B05-36A3-E012-A755-65C09EC91C68}"/>
                </a:ext>
              </a:extLst>
            </p:cNvPr>
            <p:cNvSpPr/>
            <p:nvPr/>
          </p:nvSpPr>
          <p:spPr>
            <a:xfrm rot="-1685758">
              <a:off x="7465216" y="4052484"/>
              <a:ext cx="59549" cy="60168"/>
            </a:xfrm>
            <a:custGeom>
              <a:avLst/>
              <a:gdLst/>
              <a:ahLst/>
              <a:cxnLst/>
              <a:rect l="l" t="t" r="r" b="b"/>
              <a:pathLst>
                <a:path w="1729" h="1747" fill="none" extrusionOk="0">
                  <a:moveTo>
                    <a:pt x="1729" y="749"/>
                  </a:moveTo>
                  <a:cubicBezTo>
                    <a:pt x="1729" y="1408"/>
                    <a:pt x="927" y="1746"/>
                    <a:pt x="464" y="1265"/>
                  </a:cubicBezTo>
                  <a:cubicBezTo>
                    <a:pt x="1" y="802"/>
                    <a:pt x="322" y="1"/>
                    <a:pt x="998" y="1"/>
                  </a:cubicBezTo>
                  <a:cubicBezTo>
                    <a:pt x="1408" y="1"/>
                    <a:pt x="1729" y="339"/>
                    <a:pt x="1729" y="749"/>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303;p34">
              <a:extLst>
                <a:ext uri="{FF2B5EF4-FFF2-40B4-BE49-F238E27FC236}">
                  <a16:creationId xmlns:a16="http://schemas.microsoft.com/office/drawing/2014/main" id="{2A821F98-EE36-748F-773C-91E66E0D6BB3}"/>
                </a:ext>
              </a:extLst>
            </p:cNvPr>
            <p:cNvSpPr/>
            <p:nvPr/>
          </p:nvSpPr>
          <p:spPr>
            <a:xfrm>
              <a:off x="6575627" y="3816888"/>
              <a:ext cx="335779" cy="396117"/>
            </a:xfrm>
            <a:custGeom>
              <a:avLst/>
              <a:gdLst/>
              <a:ahLst/>
              <a:cxnLst/>
              <a:rect l="l" t="t" r="r" b="b"/>
              <a:pathLst>
                <a:path w="6040" h="7126" extrusionOk="0">
                  <a:moveTo>
                    <a:pt x="5844" y="2726"/>
                  </a:moveTo>
                  <a:lnTo>
                    <a:pt x="3225" y="107"/>
                  </a:lnTo>
                  <a:cubicBezTo>
                    <a:pt x="3118" y="0"/>
                    <a:pt x="2922" y="0"/>
                    <a:pt x="2815" y="107"/>
                  </a:cubicBezTo>
                  <a:lnTo>
                    <a:pt x="197" y="2726"/>
                  </a:lnTo>
                  <a:cubicBezTo>
                    <a:pt x="1" y="2922"/>
                    <a:pt x="143" y="3260"/>
                    <a:pt x="410" y="3242"/>
                  </a:cubicBezTo>
                  <a:lnTo>
                    <a:pt x="749" y="3242"/>
                  </a:lnTo>
                  <a:cubicBezTo>
                    <a:pt x="909" y="3242"/>
                    <a:pt x="1052" y="3367"/>
                    <a:pt x="1052" y="3545"/>
                  </a:cubicBezTo>
                  <a:lnTo>
                    <a:pt x="1052" y="6823"/>
                  </a:lnTo>
                  <a:cubicBezTo>
                    <a:pt x="1052" y="6983"/>
                    <a:pt x="1177" y="7126"/>
                    <a:pt x="1337" y="7126"/>
                  </a:cubicBezTo>
                  <a:lnTo>
                    <a:pt x="4722" y="7126"/>
                  </a:lnTo>
                  <a:cubicBezTo>
                    <a:pt x="4864" y="7108"/>
                    <a:pt x="4989" y="6983"/>
                    <a:pt x="4989" y="6823"/>
                  </a:cubicBezTo>
                  <a:lnTo>
                    <a:pt x="4989" y="3545"/>
                  </a:lnTo>
                  <a:cubicBezTo>
                    <a:pt x="4989" y="3367"/>
                    <a:pt x="5131" y="3242"/>
                    <a:pt x="5292" y="3242"/>
                  </a:cubicBezTo>
                  <a:lnTo>
                    <a:pt x="5630" y="3242"/>
                  </a:lnTo>
                  <a:cubicBezTo>
                    <a:pt x="5897" y="3242"/>
                    <a:pt x="6040" y="2922"/>
                    <a:pt x="5844" y="2726"/>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304;p34">
              <a:extLst>
                <a:ext uri="{FF2B5EF4-FFF2-40B4-BE49-F238E27FC236}">
                  <a16:creationId xmlns:a16="http://schemas.microsoft.com/office/drawing/2014/main" id="{7606B30D-D88D-3AC7-8629-24E481022CCE}"/>
                </a:ext>
              </a:extLst>
            </p:cNvPr>
            <p:cNvSpPr/>
            <p:nvPr/>
          </p:nvSpPr>
          <p:spPr>
            <a:xfrm>
              <a:off x="5138089" y="1527749"/>
              <a:ext cx="107827" cy="108460"/>
            </a:xfrm>
            <a:custGeom>
              <a:avLst/>
              <a:gdLst/>
              <a:ahLst/>
              <a:cxnLst/>
              <a:rect l="l" t="t" r="r" b="b"/>
              <a:pathLst>
                <a:path w="3065" h="3083" fill="none" extrusionOk="0">
                  <a:moveTo>
                    <a:pt x="3065" y="1551"/>
                  </a:moveTo>
                  <a:cubicBezTo>
                    <a:pt x="3065" y="2388"/>
                    <a:pt x="2388" y="3083"/>
                    <a:pt x="1533" y="3083"/>
                  </a:cubicBezTo>
                  <a:cubicBezTo>
                    <a:pt x="678" y="3083"/>
                    <a:pt x="1" y="2388"/>
                    <a:pt x="1" y="1551"/>
                  </a:cubicBezTo>
                  <a:cubicBezTo>
                    <a:pt x="1" y="696"/>
                    <a:pt x="678" y="1"/>
                    <a:pt x="1533" y="1"/>
                  </a:cubicBezTo>
                  <a:cubicBezTo>
                    <a:pt x="2388" y="1"/>
                    <a:pt x="3065" y="696"/>
                    <a:pt x="3065" y="155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30" name="Google Shape;305;p34">
              <a:extLst>
                <a:ext uri="{FF2B5EF4-FFF2-40B4-BE49-F238E27FC236}">
                  <a16:creationId xmlns:a16="http://schemas.microsoft.com/office/drawing/2014/main" id="{8FE3E920-F822-00F7-007B-5517EF22F2BF}"/>
                </a:ext>
              </a:extLst>
            </p:cNvPr>
            <p:cNvGrpSpPr/>
            <p:nvPr/>
          </p:nvGrpSpPr>
          <p:grpSpPr>
            <a:xfrm>
              <a:off x="6882732" y="2040297"/>
              <a:ext cx="1861102" cy="1904111"/>
              <a:chOff x="6882732" y="2040297"/>
              <a:chExt cx="1861102" cy="1904111"/>
            </a:xfrm>
            <a:grpFill/>
          </p:grpSpPr>
          <p:grpSp>
            <p:nvGrpSpPr>
              <p:cNvPr id="31" name="Google Shape;306;p34">
                <a:extLst>
                  <a:ext uri="{FF2B5EF4-FFF2-40B4-BE49-F238E27FC236}">
                    <a16:creationId xmlns:a16="http://schemas.microsoft.com/office/drawing/2014/main" id="{34F6CDEA-1791-58F3-E870-3262DDB45F4D}"/>
                  </a:ext>
                </a:extLst>
              </p:cNvPr>
              <p:cNvGrpSpPr/>
              <p:nvPr/>
            </p:nvGrpSpPr>
            <p:grpSpPr>
              <a:xfrm rot="1800000">
                <a:off x="7153488" y="2273972"/>
                <a:ext cx="1319590" cy="1436760"/>
                <a:chOff x="2956444" y="-416775"/>
                <a:chExt cx="1627918" cy="1772276"/>
              </a:xfrm>
              <a:grpFill/>
            </p:grpSpPr>
            <p:sp>
              <p:nvSpPr>
                <p:cNvPr id="33" name="Google Shape;307;p34">
                  <a:extLst>
                    <a:ext uri="{FF2B5EF4-FFF2-40B4-BE49-F238E27FC236}">
                      <a16:creationId xmlns:a16="http://schemas.microsoft.com/office/drawing/2014/main" id="{8A231A4D-EF28-A6B7-D40A-2FD9C9D1196F}"/>
                    </a:ext>
                  </a:extLst>
                </p:cNvPr>
                <p:cNvSpPr/>
                <p:nvPr/>
              </p:nvSpPr>
              <p:spPr>
                <a:xfrm rot="-1685758">
                  <a:off x="3256913" y="-103587"/>
                  <a:ext cx="989043" cy="989043"/>
                </a:xfrm>
                <a:custGeom>
                  <a:avLst/>
                  <a:gdLst/>
                  <a:ahLst/>
                  <a:cxnLst/>
                  <a:rect l="l" t="t" r="r" b="b"/>
                  <a:pathLst>
                    <a:path w="28717" h="28717" extrusionOk="0">
                      <a:moveTo>
                        <a:pt x="27541" y="12221"/>
                      </a:moveTo>
                      <a:cubicBezTo>
                        <a:pt x="28717" y="19507"/>
                        <a:pt x="23765" y="26365"/>
                        <a:pt x="16479" y="27541"/>
                      </a:cubicBezTo>
                      <a:cubicBezTo>
                        <a:pt x="9210" y="28717"/>
                        <a:pt x="2352" y="23765"/>
                        <a:pt x="1176" y="16478"/>
                      </a:cubicBezTo>
                      <a:cubicBezTo>
                        <a:pt x="0" y="9192"/>
                        <a:pt x="4953" y="2334"/>
                        <a:pt x="12239" y="1158"/>
                      </a:cubicBezTo>
                      <a:cubicBezTo>
                        <a:pt x="19525" y="0"/>
                        <a:pt x="26383" y="4953"/>
                        <a:pt x="27541" y="12221"/>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308;p34">
                  <a:extLst>
                    <a:ext uri="{FF2B5EF4-FFF2-40B4-BE49-F238E27FC236}">
                      <a16:creationId xmlns:a16="http://schemas.microsoft.com/office/drawing/2014/main" id="{95CFAE34-B5C7-D24D-44DF-0BFE284E3398}"/>
                    </a:ext>
                  </a:extLst>
                </p:cNvPr>
                <p:cNvSpPr/>
                <p:nvPr/>
              </p:nvSpPr>
              <p:spPr>
                <a:xfrm rot="-1685758">
                  <a:off x="4089280" y="737191"/>
                  <a:ext cx="118443" cy="204959"/>
                </a:xfrm>
                <a:custGeom>
                  <a:avLst/>
                  <a:gdLst/>
                  <a:ahLst/>
                  <a:cxnLst/>
                  <a:rect l="l" t="t" r="r" b="b"/>
                  <a:pathLst>
                    <a:path w="3439" h="5951" extrusionOk="0">
                      <a:moveTo>
                        <a:pt x="1" y="499"/>
                      </a:moveTo>
                      <a:lnTo>
                        <a:pt x="2227" y="0"/>
                      </a:lnTo>
                      <a:lnTo>
                        <a:pt x="3439" y="5451"/>
                      </a:lnTo>
                      <a:lnTo>
                        <a:pt x="1230" y="5950"/>
                      </a:ln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309;p34">
                  <a:extLst>
                    <a:ext uri="{FF2B5EF4-FFF2-40B4-BE49-F238E27FC236}">
                      <a16:creationId xmlns:a16="http://schemas.microsoft.com/office/drawing/2014/main" id="{5BC00EBA-333E-D1FF-730F-A727C91CFDDD}"/>
                    </a:ext>
                  </a:extLst>
                </p:cNvPr>
                <p:cNvSpPr/>
                <p:nvPr/>
              </p:nvSpPr>
              <p:spPr>
                <a:xfrm rot="-1685758">
                  <a:off x="4188388" y="804968"/>
                  <a:ext cx="292714" cy="511759"/>
                </a:xfrm>
                <a:custGeom>
                  <a:avLst/>
                  <a:gdLst/>
                  <a:ahLst/>
                  <a:cxnLst/>
                  <a:rect l="l" t="t" r="r" b="b"/>
                  <a:pathLst>
                    <a:path w="8499" h="14859" extrusionOk="0">
                      <a:moveTo>
                        <a:pt x="1" y="1266"/>
                      </a:moveTo>
                      <a:lnTo>
                        <a:pt x="5648" y="1"/>
                      </a:lnTo>
                      <a:lnTo>
                        <a:pt x="8213" y="11456"/>
                      </a:lnTo>
                      <a:cubicBezTo>
                        <a:pt x="8498" y="12774"/>
                        <a:pt x="7679" y="14057"/>
                        <a:pt x="6378" y="14359"/>
                      </a:cubicBezTo>
                      <a:lnTo>
                        <a:pt x="5452" y="14555"/>
                      </a:lnTo>
                      <a:cubicBezTo>
                        <a:pt x="4151" y="14858"/>
                        <a:pt x="2851" y="14021"/>
                        <a:pt x="2566" y="12720"/>
                      </a:cubicBezTo>
                      <a:lnTo>
                        <a:pt x="1" y="1266"/>
                      </a:ln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310;p34">
                  <a:extLst>
                    <a:ext uri="{FF2B5EF4-FFF2-40B4-BE49-F238E27FC236}">
                      <a16:creationId xmlns:a16="http://schemas.microsoft.com/office/drawing/2014/main" id="{1BC1E62B-3CCA-1B76-4C16-9C402CC0F3BA}"/>
                    </a:ext>
                  </a:extLst>
                </p:cNvPr>
                <p:cNvSpPr/>
                <p:nvPr/>
              </p:nvSpPr>
              <p:spPr>
                <a:xfrm rot="-1685758">
                  <a:off x="3167104" y="-212431"/>
                  <a:ext cx="1164555" cy="1186011"/>
                </a:xfrm>
                <a:custGeom>
                  <a:avLst/>
                  <a:gdLst/>
                  <a:ahLst/>
                  <a:cxnLst/>
                  <a:rect l="l" t="t" r="r" b="b"/>
                  <a:pathLst>
                    <a:path w="33813" h="34436" extrusionOk="0">
                      <a:moveTo>
                        <a:pt x="13344" y="1924"/>
                      </a:moveTo>
                      <a:cubicBezTo>
                        <a:pt x="7038" y="3349"/>
                        <a:pt x="2210" y="8408"/>
                        <a:pt x="1105" y="14768"/>
                      </a:cubicBezTo>
                      <a:cubicBezTo>
                        <a:pt x="1" y="21128"/>
                        <a:pt x="2833" y="27523"/>
                        <a:pt x="8285" y="30979"/>
                      </a:cubicBezTo>
                      <a:cubicBezTo>
                        <a:pt x="13754" y="34435"/>
                        <a:pt x="20737" y="34275"/>
                        <a:pt x="26028" y="30552"/>
                      </a:cubicBezTo>
                      <a:cubicBezTo>
                        <a:pt x="31301" y="26828"/>
                        <a:pt x="33813" y="20308"/>
                        <a:pt x="32405" y="14002"/>
                      </a:cubicBezTo>
                      <a:cubicBezTo>
                        <a:pt x="30481" y="5416"/>
                        <a:pt x="21948" y="0"/>
                        <a:pt x="13344" y="1924"/>
                      </a:cubicBezTo>
                      <a:close/>
                      <a:moveTo>
                        <a:pt x="19757" y="30534"/>
                      </a:moveTo>
                      <a:cubicBezTo>
                        <a:pt x="14484" y="31710"/>
                        <a:pt x="9015" y="29607"/>
                        <a:pt x="5897" y="25190"/>
                      </a:cubicBezTo>
                      <a:cubicBezTo>
                        <a:pt x="2798" y="20772"/>
                        <a:pt x="2655" y="14911"/>
                        <a:pt x="5541" y="10350"/>
                      </a:cubicBezTo>
                      <a:cubicBezTo>
                        <a:pt x="8445" y="5790"/>
                        <a:pt x="13789" y="3403"/>
                        <a:pt x="19116" y="4329"/>
                      </a:cubicBezTo>
                      <a:cubicBezTo>
                        <a:pt x="24442" y="5255"/>
                        <a:pt x="28682" y="9299"/>
                        <a:pt x="29876" y="14572"/>
                      </a:cubicBezTo>
                      <a:cubicBezTo>
                        <a:pt x="31479" y="21769"/>
                        <a:pt x="26954" y="28913"/>
                        <a:pt x="19757" y="30534"/>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311;p34">
                  <a:extLst>
                    <a:ext uri="{FF2B5EF4-FFF2-40B4-BE49-F238E27FC236}">
                      <a16:creationId xmlns:a16="http://schemas.microsoft.com/office/drawing/2014/main" id="{D8CD219A-2C28-10D6-3A81-8DBE506B5C87}"/>
                    </a:ext>
                  </a:extLst>
                </p:cNvPr>
                <p:cNvSpPr/>
                <p:nvPr/>
              </p:nvSpPr>
              <p:spPr>
                <a:xfrm rot="-1685758">
                  <a:off x="3633731" y="686682"/>
                  <a:ext cx="59549" cy="60134"/>
                </a:xfrm>
                <a:custGeom>
                  <a:avLst/>
                  <a:gdLst/>
                  <a:ahLst/>
                  <a:cxnLst/>
                  <a:rect l="l" t="t" r="r" b="b"/>
                  <a:pathLst>
                    <a:path w="1729" h="1746" fill="none" extrusionOk="0">
                      <a:moveTo>
                        <a:pt x="1729" y="748"/>
                      </a:moveTo>
                      <a:cubicBezTo>
                        <a:pt x="1729" y="1408"/>
                        <a:pt x="945" y="1746"/>
                        <a:pt x="464" y="1283"/>
                      </a:cubicBezTo>
                      <a:cubicBezTo>
                        <a:pt x="1" y="820"/>
                        <a:pt x="321" y="18"/>
                        <a:pt x="980" y="18"/>
                      </a:cubicBezTo>
                      <a:cubicBezTo>
                        <a:pt x="1390" y="0"/>
                        <a:pt x="1729" y="339"/>
                        <a:pt x="1729" y="748"/>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312;p34">
                  <a:extLst>
                    <a:ext uri="{FF2B5EF4-FFF2-40B4-BE49-F238E27FC236}">
                      <a16:creationId xmlns:a16="http://schemas.microsoft.com/office/drawing/2014/main" id="{355EFCC8-9C7A-AA56-DCE7-EB40BF931F18}"/>
                    </a:ext>
                  </a:extLst>
                </p:cNvPr>
                <p:cNvSpPr/>
                <p:nvPr/>
              </p:nvSpPr>
              <p:spPr>
                <a:xfrm rot="-1685758">
                  <a:off x="3920185" y="240959"/>
                  <a:ext cx="59549" cy="60168"/>
                </a:xfrm>
                <a:custGeom>
                  <a:avLst/>
                  <a:gdLst/>
                  <a:ahLst/>
                  <a:cxnLst/>
                  <a:rect l="l" t="t" r="r" b="b"/>
                  <a:pathLst>
                    <a:path w="1729" h="1747" fill="none" extrusionOk="0">
                      <a:moveTo>
                        <a:pt x="1729" y="749"/>
                      </a:moveTo>
                      <a:cubicBezTo>
                        <a:pt x="1729" y="1408"/>
                        <a:pt x="927" y="1746"/>
                        <a:pt x="464" y="1283"/>
                      </a:cubicBezTo>
                      <a:cubicBezTo>
                        <a:pt x="1" y="802"/>
                        <a:pt x="321" y="0"/>
                        <a:pt x="998" y="0"/>
                      </a:cubicBezTo>
                      <a:cubicBezTo>
                        <a:pt x="1408" y="0"/>
                        <a:pt x="1729" y="339"/>
                        <a:pt x="1729" y="749"/>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9" name="Google Shape;313;p34">
                  <a:extLst>
                    <a:ext uri="{FF2B5EF4-FFF2-40B4-BE49-F238E27FC236}">
                      <a16:creationId xmlns:a16="http://schemas.microsoft.com/office/drawing/2014/main" id="{22CB7782-F5C5-D7C2-99F8-493539400044}"/>
                    </a:ext>
                  </a:extLst>
                </p:cNvPr>
                <p:cNvSpPr/>
                <p:nvPr/>
              </p:nvSpPr>
              <p:spPr>
                <a:xfrm rot="-1685758">
                  <a:off x="3804917" y="483952"/>
                  <a:ext cx="59549" cy="59549"/>
                </a:xfrm>
                <a:custGeom>
                  <a:avLst/>
                  <a:gdLst/>
                  <a:ahLst/>
                  <a:cxnLst/>
                  <a:rect l="l" t="t" r="r" b="b"/>
                  <a:pathLst>
                    <a:path w="1729" h="1729" fill="none" extrusionOk="0">
                      <a:moveTo>
                        <a:pt x="1729" y="749"/>
                      </a:moveTo>
                      <a:cubicBezTo>
                        <a:pt x="1729" y="1408"/>
                        <a:pt x="927" y="1729"/>
                        <a:pt x="464" y="1266"/>
                      </a:cubicBezTo>
                      <a:cubicBezTo>
                        <a:pt x="1" y="803"/>
                        <a:pt x="322" y="1"/>
                        <a:pt x="999" y="1"/>
                      </a:cubicBezTo>
                      <a:cubicBezTo>
                        <a:pt x="1390" y="1"/>
                        <a:pt x="1729" y="339"/>
                        <a:pt x="1729" y="749"/>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0" name="Google Shape;314;p34">
                  <a:extLst>
                    <a:ext uri="{FF2B5EF4-FFF2-40B4-BE49-F238E27FC236}">
                      <a16:creationId xmlns:a16="http://schemas.microsoft.com/office/drawing/2014/main" id="{C530AD80-2C99-E23F-A935-D93506618720}"/>
                    </a:ext>
                  </a:extLst>
                </p:cNvPr>
                <p:cNvSpPr/>
                <p:nvPr/>
              </p:nvSpPr>
              <p:spPr>
                <a:xfrm rot="-1685758">
                  <a:off x="3656982" y="206840"/>
                  <a:ext cx="59549" cy="59549"/>
                </a:xfrm>
                <a:custGeom>
                  <a:avLst/>
                  <a:gdLst/>
                  <a:ahLst/>
                  <a:cxnLst/>
                  <a:rect l="l" t="t" r="r" b="b"/>
                  <a:pathLst>
                    <a:path w="1729" h="1729" fill="none" extrusionOk="0">
                      <a:moveTo>
                        <a:pt x="1729" y="731"/>
                      </a:moveTo>
                      <a:cubicBezTo>
                        <a:pt x="1729" y="1390"/>
                        <a:pt x="927" y="1729"/>
                        <a:pt x="464" y="1266"/>
                      </a:cubicBezTo>
                      <a:cubicBezTo>
                        <a:pt x="1" y="785"/>
                        <a:pt x="322" y="1"/>
                        <a:pt x="999" y="1"/>
                      </a:cubicBezTo>
                      <a:cubicBezTo>
                        <a:pt x="1390" y="1"/>
                        <a:pt x="1729" y="322"/>
                        <a:pt x="1729" y="73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315;p34">
                  <a:extLst>
                    <a:ext uri="{FF2B5EF4-FFF2-40B4-BE49-F238E27FC236}">
                      <a16:creationId xmlns:a16="http://schemas.microsoft.com/office/drawing/2014/main" id="{B2076EB6-151F-2AAB-5079-D1040EA86141}"/>
                    </a:ext>
                  </a:extLst>
                </p:cNvPr>
                <p:cNvSpPr/>
                <p:nvPr/>
              </p:nvSpPr>
              <p:spPr>
                <a:xfrm rot="-1685758">
                  <a:off x="3625057" y="514757"/>
                  <a:ext cx="17221" cy="173652"/>
                </a:xfrm>
                <a:custGeom>
                  <a:avLst/>
                  <a:gdLst/>
                  <a:ahLst/>
                  <a:cxnLst/>
                  <a:rect l="l" t="t" r="r" b="b"/>
                  <a:pathLst>
                    <a:path w="500" h="5042" fill="none" extrusionOk="0">
                      <a:moveTo>
                        <a:pt x="1" y="5042"/>
                      </a:moveTo>
                      <a:lnTo>
                        <a:pt x="500" y="0"/>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316;p34">
                  <a:extLst>
                    <a:ext uri="{FF2B5EF4-FFF2-40B4-BE49-F238E27FC236}">
                      <a16:creationId xmlns:a16="http://schemas.microsoft.com/office/drawing/2014/main" id="{65F8D430-0273-FCBB-4F02-414D1C598EA2}"/>
                    </a:ext>
                  </a:extLst>
                </p:cNvPr>
                <p:cNvSpPr/>
                <p:nvPr/>
              </p:nvSpPr>
              <p:spPr>
                <a:xfrm rot="-1685758">
                  <a:off x="3641679" y="449510"/>
                  <a:ext cx="154675" cy="97571"/>
                </a:xfrm>
                <a:custGeom>
                  <a:avLst/>
                  <a:gdLst/>
                  <a:ahLst/>
                  <a:cxnLst/>
                  <a:rect l="l" t="t" r="r" b="b"/>
                  <a:pathLst>
                    <a:path w="4491" h="2833" fill="none" extrusionOk="0">
                      <a:moveTo>
                        <a:pt x="1" y="0"/>
                      </a:moveTo>
                      <a:lnTo>
                        <a:pt x="4490" y="2833"/>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 name="Google Shape;317;p34">
                  <a:extLst>
                    <a:ext uri="{FF2B5EF4-FFF2-40B4-BE49-F238E27FC236}">
                      <a16:creationId xmlns:a16="http://schemas.microsoft.com/office/drawing/2014/main" id="{8CA61C50-7410-26C8-BB13-73E7B6FBD580}"/>
                    </a:ext>
                  </a:extLst>
                </p:cNvPr>
                <p:cNvSpPr/>
                <p:nvPr/>
              </p:nvSpPr>
              <p:spPr>
                <a:xfrm rot="-1685758">
                  <a:off x="3762760" y="237601"/>
                  <a:ext cx="34" cy="263233"/>
                </a:xfrm>
                <a:custGeom>
                  <a:avLst/>
                  <a:gdLst/>
                  <a:ahLst/>
                  <a:cxnLst/>
                  <a:rect l="l" t="t" r="r" b="b"/>
                  <a:pathLst>
                    <a:path w="1" h="7643" fill="none" extrusionOk="0">
                      <a:moveTo>
                        <a:pt x="1" y="7643"/>
                      </a:moveTo>
                      <a:lnTo>
                        <a:pt x="1" y="1"/>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 name="Google Shape;318;p34">
                  <a:extLst>
                    <a:ext uri="{FF2B5EF4-FFF2-40B4-BE49-F238E27FC236}">
                      <a16:creationId xmlns:a16="http://schemas.microsoft.com/office/drawing/2014/main" id="{99CC2B46-C9E4-7407-C01F-64E458C63775}"/>
                    </a:ext>
                  </a:extLst>
                </p:cNvPr>
                <p:cNvSpPr/>
                <p:nvPr/>
              </p:nvSpPr>
              <p:spPr>
                <a:xfrm rot="-1685758">
                  <a:off x="3732400" y="186253"/>
                  <a:ext cx="173652" cy="122748"/>
                </a:xfrm>
                <a:custGeom>
                  <a:avLst/>
                  <a:gdLst/>
                  <a:ahLst/>
                  <a:cxnLst/>
                  <a:rect l="l" t="t" r="r" b="b"/>
                  <a:pathLst>
                    <a:path w="5042" h="3564" fill="none" extrusionOk="0">
                      <a:moveTo>
                        <a:pt x="0" y="1"/>
                      </a:moveTo>
                      <a:lnTo>
                        <a:pt x="5042" y="3564"/>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 name="Google Shape;319;p34">
                  <a:extLst>
                    <a:ext uri="{FF2B5EF4-FFF2-40B4-BE49-F238E27FC236}">
                      <a16:creationId xmlns:a16="http://schemas.microsoft.com/office/drawing/2014/main" id="{DC262679-1CB8-7579-864B-675F6C3790F7}"/>
                    </a:ext>
                  </a:extLst>
                </p:cNvPr>
                <p:cNvSpPr/>
                <p:nvPr/>
              </p:nvSpPr>
              <p:spPr>
                <a:xfrm rot="-1685758">
                  <a:off x="3885238" y="25901"/>
                  <a:ext cx="654" cy="230755"/>
                </a:xfrm>
                <a:custGeom>
                  <a:avLst/>
                  <a:gdLst/>
                  <a:ahLst/>
                  <a:cxnLst/>
                  <a:rect l="l" t="t" r="r" b="b"/>
                  <a:pathLst>
                    <a:path w="19" h="6700" fill="none" extrusionOk="0">
                      <a:moveTo>
                        <a:pt x="0" y="6699"/>
                      </a:moveTo>
                      <a:lnTo>
                        <a:pt x="18" y="1"/>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320;p34">
                  <a:extLst>
                    <a:ext uri="{FF2B5EF4-FFF2-40B4-BE49-F238E27FC236}">
                      <a16:creationId xmlns:a16="http://schemas.microsoft.com/office/drawing/2014/main" id="{7D0BFACD-BAA3-A464-4E09-DB7818DEA1EE}"/>
                    </a:ext>
                  </a:extLst>
                </p:cNvPr>
                <p:cNvSpPr/>
                <p:nvPr/>
              </p:nvSpPr>
              <p:spPr>
                <a:xfrm rot="-1685758">
                  <a:off x="3819341" y="33672"/>
                  <a:ext cx="34992" cy="30101"/>
                </a:xfrm>
                <a:custGeom>
                  <a:avLst/>
                  <a:gdLst/>
                  <a:ahLst/>
                  <a:cxnLst/>
                  <a:rect l="l" t="t" r="r" b="b"/>
                  <a:pathLst>
                    <a:path w="1016" h="874" fill="none" extrusionOk="0">
                      <a:moveTo>
                        <a:pt x="1016" y="838"/>
                      </a:moveTo>
                      <a:lnTo>
                        <a:pt x="481" y="0"/>
                      </a:lnTo>
                      <a:lnTo>
                        <a:pt x="0" y="873"/>
                      </a:lnTo>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32" name="Google Shape;321;p34">
                <a:extLst>
                  <a:ext uri="{FF2B5EF4-FFF2-40B4-BE49-F238E27FC236}">
                    <a16:creationId xmlns:a16="http://schemas.microsoft.com/office/drawing/2014/main" id="{5F12F5A5-8051-C59F-814D-ACBA0B28550C}"/>
                  </a:ext>
                </a:extLst>
              </p:cNvPr>
              <p:cNvSpPr/>
              <p:nvPr/>
            </p:nvSpPr>
            <p:spPr>
              <a:xfrm rot="113924">
                <a:off x="7656437" y="2922773"/>
                <a:ext cx="48270" cy="48274"/>
              </a:xfrm>
              <a:custGeom>
                <a:avLst/>
                <a:gdLst/>
                <a:ahLst/>
                <a:cxnLst/>
                <a:rect l="l" t="t" r="r" b="b"/>
                <a:pathLst>
                  <a:path w="1729" h="1729" fill="none" extrusionOk="0">
                    <a:moveTo>
                      <a:pt x="1729" y="731"/>
                    </a:moveTo>
                    <a:cubicBezTo>
                      <a:pt x="1729" y="1390"/>
                      <a:pt x="927" y="1729"/>
                      <a:pt x="464" y="1266"/>
                    </a:cubicBezTo>
                    <a:cubicBezTo>
                      <a:pt x="1" y="785"/>
                      <a:pt x="322" y="1"/>
                      <a:pt x="999" y="1"/>
                    </a:cubicBezTo>
                    <a:cubicBezTo>
                      <a:pt x="1390" y="1"/>
                      <a:pt x="1729" y="322"/>
                      <a:pt x="1729" y="731"/>
                    </a:cubicBezTo>
                    <a:close/>
                  </a:path>
                </a:pathLst>
              </a:custGeom>
              <a:grpFill/>
              <a:ln w="38100" cap="flat" cmpd="sng">
                <a:solidFill>
                  <a:schemeClr val="tx1"/>
                </a:solidFill>
                <a:prstDash val="solid"/>
                <a:miter lim="17814"/>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grpSp>
        <p:nvGrpSpPr>
          <p:cNvPr id="74" name="Google Shape;2719;p70">
            <a:extLst>
              <a:ext uri="{FF2B5EF4-FFF2-40B4-BE49-F238E27FC236}">
                <a16:creationId xmlns:a16="http://schemas.microsoft.com/office/drawing/2014/main" id="{C35F894D-6D2E-8E9C-E5BF-F28B947C53B8}"/>
              </a:ext>
            </a:extLst>
          </p:cNvPr>
          <p:cNvGrpSpPr/>
          <p:nvPr/>
        </p:nvGrpSpPr>
        <p:grpSpPr>
          <a:xfrm>
            <a:off x="5622878" y="274967"/>
            <a:ext cx="2685882" cy="2886630"/>
            <a:chOff x="818300" y="1811250"/>
            <a:chExt cx="1885938" cy="2275613"/>
          </a:xfrm>
          <a:gradFill>
            <a:gsLst>
              <a:gs pos="100000">
                <a:schemeClr val="bg2">
                  <a:lumMod val="0"/>
                </a:schemeClr>
              </a:gs>
              <a:gs pos="96330">
                <a:schemeClr val="bg2">
                  <a:lumMod val="0"/>
                </a:schemeClr>
              </a:gs>
              <a:gs pos="63000">
                <a:schemeClr val="bg2">
                  <a:lumMod val="90000"/>
                </a:schemeClr>
              </a:gs>
              <a:gs pos="0">
                <a:schemeClr val="bg1">
                  <a:lumMod val="95000"/>
                </a:schemeClr>
              </a:gs>
              <a:gs pos="32000">
                <a:srgbClr val="168DA5"/>
              </a:gs>
            </a:gsLst>
            <a:path path="circle">
              <a:fillToRect l="100000" t="100000"/>
            </a:path>
          </a:gradFill>
        </p:grpSpPr>
        <p:grpSp>
          <p:nvGrpSpPr>
            <p:cNvPr id="75" name="Google Shape;2720;p70">
              <a:extLst>
                <a:ext uri="{FF2B5EF4-FFF2-40B4-BE49-F238E27FC236}">
                  <a16:creationId xmlns:a16="http://schemas.microsoft.com/office/drawing/2014/main" id="{BE7EC02C-31EB-74E6-6C7A-AEB180017056}"/>
                </a:ext>
              </a:extLst>
            </p:cNvPr>
            <p:cNvGrpSpPr/>
            <p:nvPr/>
          </p:nvGrpSpPr>
          <p:grpSpPr>
            <a:xfrm>
              <a:off x="818300" y="1811250"/>
              <a:ext cx="1616075" cy="2275613"/>
              <a:chOff x="818300" y="2144625"/>
              <a:chExt cx="1616075" cy="2275613"/>
            </a:xfrm>
            <a:grpFill/>
          </p:grpSpPr>
          <p:grpSp>
            <p:nvGrpSpPr>
              <p:cNvPr id="77" name="Google Shape;2721;p70">
                <a:extLst>
                  <a:ext uri="{FF2B5EF4-FFF2-40B4-BE49-F238E27FC236}">
                    <a16:creationId xmlns:a16="http://schemas.microsoft.com/office/drawing/2014/main" id="{BB682E82-4600-007C-0008-F8D10822130E}"/>
                  </a:ext>
                </a:extLst>
              </p:cNvPr>
              <p:cNvGrpSpPr/>
              <p:nvPr/>
            </p:nvGrpSpPr>
            <p:grpSpPr>
              <a:xfrm>
                <a:off x="818300" y="2470076"/>
                <a:ext cx="1616065" cy="1564413"/>
                <a:chOff x="867250" y="2531276"/>
                <a:chExt cx="1616065" cy="1564413"/>
              </a:xfrm>
              <a:grpFill/>
            </p:grpSpPr>
            <p:sp>
              <p:nvSpPr>
                <p:cNvPr id="84" name="Google Shape;2722;p70">
                  <a:extLst>
                    <a:ext uri="{FF2B5EF4-FFF2-40B4-BE49-F238E27FC236}">
                      <a16:creationId xmlns:a16="http://schemas.microsoft.com/office/drawing/2014/main" id="{E21A4CAB-822C-A8EA-2FED-86C20AEA019F}"/>
                    </a:ext>
                  </a:extLst>
                </p:cNvPr>
                <p:cNvSpPr/>
                <p:nvPr/>
              </p:nvSpPr>
              <p:spPr>
                <a:xfrm>
                  <a:off x="867250" y="3173775"/>
                  <a:ext cx="916982" cy="921914"/>
                </a:xfrm>
                <a:custGeom>
                  <a:avLst/>
                  <a:gdLst/>
                  <a:ahLst/>
                  <a:cxnLst/>
                  <a:rect l="l" t="t" r="r" b="b"/>
                  <a:pathLst>
                    <a:path w="18781" h="18882" extrusionOk="0">
                      <a:moveTo>
                        <a:pt x="9274" y="3801"/>
                      </a:moveTo>
                      <a:cubicBezTo>
                        <a:pt x="12166" y="3801"/>
                        <a:pt x="14944" y="6056"/>
                        <a:pt x="14944" y="9441"/>
                      </a:cubicBezTo>
                      <a:cubicBezTo>
                        <a:pt x="14944" y="12543"/>
                        <a:pt x="12442" y="15078"/>
                        <a:pt x="9340" y="15078"/>
                      </a:cubicBezTo>
                      <a:lnTo>
                        <a:pt x="9307" y="15078"/>
                      </a:lnTo>
                      <a:cubicBezTo>
                        <a:pt x="4303" y="15078"/>
                        <a:pt x="1801" y="9007"/>
                        <a:pt x="5337" y="5471"/>
                      </a:cubicBezTo>
                      <a:cubicBezTo>
                        <a:pt x="6481" y="4317"/>
                        <a:pt x="7891" y="3801"/>
                        <a:pt x="9274" y="3801"/>
                      </a:cubicBezTo>
                      <a:close/>
                      <a:moveTo>
                        <a:pt x="9674" y="1"/>
                      </a:moveTo>
                      <a:cubicBezTo>
                        <a:pt x="9674" y="1"/>
                        <a:pt x="9440" y="468"/>
                        <a:pt x="9240" y="968"/>
                      </a:cubicBezTo>
                      <a:cubicBezTo>
                        <a:pt x="9173" y="1168"/>
                        <a:pt x="9107" y="1368"/>
                        <a:pt x="9040" y="1569"/>
                      </a:cubicBezTo>
                      <a:cubicBezTo>
                        <a:pt x="8873" y="1569"/>
                        <a:pt x="8706" y="1569"/>
                        <a:pt x="8540" y="1602"/>
                      </a:cubicBezTo>
                      <a:lnTo>
                        <a:pt x="8339" y="1635"/>
                      </a:lnTo>
                      <a:lnTo>
                        <a:pt x="8139" y="1669"/>
                      </a:lnTo>
                      <a:cubicBezTo>
                        <a:pt x="7973" y="1669"/>
                        <a:pt x="7806" y="1702"/>
                        <a:pt x="7639" y="1769"/>
                      </a:cubicBezTo>
                      <a:cubicBezTo>
                        <a:pt x="7539" y="1602"/>
                        <a:pt x="7405" y="1435"/>
                        <a:pt x="7272" y="1235"/>
                      </a:cubicBezTo>
                      <a:cubicBezTo>
                        <a:pt x="7139" y="1068"/>
                        <a:pt x="6938" y="835"/>
                        <a:pt x="6838" y="668"/>
                      </a:cubicBezTo>
                      <a:cubicBezTo>
                        <a:pt x="6705" y="535"/>
                        <a:pt x="6605" y="434"/>
                        <a:pt x="6605" y="434"/>
                      </a:cubicBezTo>
                      <a:lnTo>
                        <a:pt x="6271" y="568"/>
                      </a:lnTo>
                      <a:cubicBezTo>
                        <a:pt x="6004" y="635"/>
                        <a:pt x="5771" y="735"/>
                        <a:pt x="5537" y="835"/>
                      </a:cubicBezTo>
                      <a:cubicBezTo>
                        <a:pt x="5271" y="968"/>
                        <a:pt x="5004" y="1102"/>
                        <a:pt x="4837" y="1202"/>
                      </a:cubicBezTo>
                      <a:lnTo>
                        <a:pt x="4537" y="1402"/>
                      </a:lnTo>
                      <a:cubicBezTo>
                        <a:pt x="4537" y="1402"/>
                        <a:pt x="4570" y="1902"/>
                        <a:pt x="4704" y="2403"/>
                      </a:cubicBezTo>
                      <a:cubicBezTo>
                        <a:pt x="4737" y="2636"/>
                        <a:pt x="4804" y="2870"/>
                        <a:pt x="4837" y="3036"/>
                      </a:cubicBezTo>
                      <a:lnTo>
                        <a:pt x="4437" y="3337"/>
                      </a:lnTo>
                      <a:lnTo>
                        <a:pt x="4270" y="3470"/>
                      </a:lnTo>
                      <a:lnTo>
                        <a:pt x="4136" y="3603"/>
                      </a:lnTo>
                      <a:cubicBezTo>
                        <a:pt x="4003" y="3703"/>
                        <a:pt x="3870" y="3837"/>
                        <a:pt x="3770" y="3970"/>
                      </a:cubicBezTo>
                      <a:cubicBezTo>
                        <a:pt x="3603" y="3904"/>
                        <a:pt x="3403" y="3804"/>
                        <a:pt x="3169" y="3737"/>
                      </a:cubicBezTo>
                      <a:cubicBezTo>
                        <a:pt x="2702" y="3537"/>
                        <a:pt x="2202" y="3403"/>
                        <a:pt x="2202" y="3403"/>
                      </a:cubicBezTo>
                      <a:cubicBezTo>
                        <a:pt x="2168" y="3437"/>
                        <a:pt x="2135" y="3437"/>
                        <a:pt x="2135" y="3470"/>
                      </a:cubicBezTo>
                      <a:cubicBezTo>
                        <a:pt x="2102" y="3537"/>
                        <a:pt x="2035" y="3603"/>
                        <a:pt x="1968" y="3703"/>
                      </a:cubicBezTo>
                      <a:cubicBezTo>
                        <a:pt x="1801" y="3904"/>
                        <a:pt x="1668" y="4104"/>
                        <a:pt x="1501" y="4337"/>
                      </a:cubicBezTo>
                      <a:cubicBezTo>
                        <a:pt x="1368" y="4571"/>
                        <a:pt x="1201" y="4804"/>
                        <a:pt x="1101" y="5004"/>
                      </a:cubicBezTo>
                      <a:lnTo>
                        <a:pt x="934" y="5338"/>
                      </a:lnTo>
                      <a:cubicBezTo>
                        <a:pt x="934" y="5338"/>
                        <a:pt x="1268" y="5738"/>
                        <a:pt x="1635" y="6105"/>
                      </a:cubicBezTo>
                      <a:cubicBezTo>
                        <a:pt x="1801" y="6272"/>
                        <a:pt x="1968" y="6405"/>
                        <a:pt x="2102" y="6539"/>
                      </a:cubicBezTo>
                      <a:cubicBezTo>
                        <a:pt x="2035" y="6739"/>
                        <a:pt x="1968" y="6906"/>
                        <a:pt x="1902" y="7039"/>
                      </a:cubicBezTo>
                      <a:cubicBezTo>
                        <a:pt x="1902" y="7073"/>
                        <a:pt x="1868" y="7106"/>
                        <a:pt x="1868" y="7173"/>
                      </a:cubicBezTo>
                      <a:lnTo>
                        <a:pt x="1868" y="7206"/>
                      </a:lnTo>
                      <a:cubicBezTo>
                        <a:pt x="1868" y="7206"/>
                        <a:pt x="1801" y="7473"/>
                        <a:pt x="1701" y="7907"/>
                      </a:cubicBezTo>
                      <a:cubicBezTo>
                        <a:pt x="1535" y="7940"/>
                        <a:pt x="1301" y="7973"/>
                        <a:pt x="1101" y="8007"/>
                      </a:cubicBezTo>
                      <a:cubicBezTo>
                        <a:pt x="601" y="8140"/>
                        <a:pt x="67" y="8307"/>
                        <a:pt x="67" y="8307"/>
                      </a:cubicBezTo>
                      <a:cubicBezTo>
                        <a:pt x="67" y="8407"/>
                        <a:pt x="34" y="8540"/>
                        <a:pt x="34" y="8640"/>
                      </a:cubicBezTo>
                      <a:cubicBezTo>
                        <a:pt x="34" y="8874"/>
                        <a:pt x="34" y="9141"/>
                        <a:pt x="0" y="9441"/>
                      </a:cubicBezTo>
                      <a:cubicBezTo>
                        <a:pt x="0" y="9741"/>
                        <a:pt x="34" y="10008"/>
                        <a:pt x="34" y="10242"/>
                      </a:cubicBezTo>
                      <a:cubicBezTo>
                        <a:pt x="34" y="10342"/>
                        <a:pt x="67" y="10475"/>
                        <a:pt x="67" y="10575"/>
                      </a:cubicBezTo>
                      <a:cubicBezTo>
                        <a:pt x="67" y="10575"/>
                        <a:pt x="601" y="10742"/>
                        <a:pt x="1101" y="10842"/>
                      </a:cubicBezTo>
                      <a:cubicBezTo>
                        <a:pt x="1301" y="10909"/>
                        <a:pt x="1535" y="10942"/>
                        <a:pt x="1701" y="10975"/>
                      </a:cubicBezTo>
                      <a:cubicBezTo>
                        <a:pt x="1801" y="11376"/>
                        <a:pt x="1868" y="11676"/>
                        <a:pt x="1868" y="11676"/>
                      </a:cubicBezTo>
                      <a:lnTo>
                        <a:pt x="1868" y="11709"/>
                      </a:lnTo>
                      <a:cubicBezTo>
                        <a:pt x="1868" y="11743"/>
                        <a:pt x="1902" y="11809"/>
                        <a:pt x="1902" y="11843"/>
                      </a:cubicBezTo>
                      <a:cubicBezTo>
                        <a:pt x="1968" y="11976"/>
                        <a:pt x="2035" y="12143"/>
                        <a:pt x="2102" y="12343"/>
                      </a:cubicBezTo>
                      <a:cubicBezTo>
                        <a:pt x="1968" y="12443"/>
                        <a:pt x="1801" y="12610"/>
                        <a:pt x="1635" y="12777"/>
                      </a:cubicBezTo>
                      <a:cubicBezTo>
                        <a:pt x="1268" y="13144"/>
                        <a:pt x="934" y="13544"/>
                        <a:pt x="934" y="13544"/>
                      </a:cubicBezTo>
                      <a:lnTo>
                        <a:pt x="1101" y="13877"/>
                      </a:lnTo>
                      <a:cubicBezTo>
                        <a:pt x="1201" y="14044"/>
                        <a:pt x="1334" y="14278"/>
                        <a:pt x="1501" y="14545"/>
                      </a:cubicBezTo>
                      <a:cubicBezTo>
                        <a:pt x="1668" y="14778"/>
                        <a:pt x="1801" y="14978"/>
                        <a:pt x="1968" y="15178"/>
                      </a:cubicBezTo>
                      <a:cubicBezTo>
                        <a:pt x="2035" y="15278"/>
                        <a:pt x="2102" y="15345"/>
                        <a:pt x="2135" y="15379"/>
                      </a:cubicBezTo>
                      <a:cubicBezTo>
                        <a:pt x="2135" y="15412"/>
                        <a:pt x="2168" y="15445"/>
                        <a:pt x="2202" y="15479"/>
                      </a:cubicBezTo>
                      <a:cubicBezTo>
                        <a:pt x="2202" y="15479"/>
                        <a:pt x="2702" y="15312"/>
                        <a:pt x="3169" y="15145"/>
                      </a:cubicBezTo>
                      <a:cubicBezTo>
                        <a:pt x="3403" y="15078"/>
                        <a:pt x="3603" y="14978"/>
                        <a:pt x="3770" y="14912"/>
                      </a:cubicBezTo>
                      <a:cubicBezTo>
                        <a:pt x="3903" y="15078"/>
                        <a:pt x="4036" y="15178"/>
                        <a:pt x="4136" y="15278"/>
                      </a:cubicBezTo>
                      <a:lnTo>
                        <a:pt x="4270" y="15412"/>
                      </a:lnTo>
                      <a:lnTo>
                        <a:pt x="4437" y="15545"/>
                      </a:lnTo>
                      <a:lnTo>
                        <a:pt x="4837" y="15846"/>
                      </a:lnTo>
                      <a:cubicBezTo>
                        <a:pt x="4804" y="16012"/>
                        <a:pt x="4737" y="16246"/>
                        <a:pt x="4704" y="16479"/>
                      </a:cubicBezTo>
                      <a:cubicBezTo>
                        <a:pt x="4570" y="16946"/>
                        <a:pt x="4537" y="17480"/>
                        <a:pt x="4537" y="17480"/>
                      </a:cubicBezTo>
                      <a:lnTo>
                        <a:pt x="4837" y="17680"/>
                      </a:lnTo>
                      <a:cubicBezTo>
                        <a:pt x="5004" y="17780"/>
                        <a:pt x="5271" y="17880"/>
                        <a:pt x="5537" y="18014"/>
                      </a:cubicBezTo>
                      <a:cubicBezTo>
                        <a:pt x="5771" y="18147"/>
                        <a:pt x="6004" y="18247"/>
                        <a:pt x="6271" y="18314"/>
                      </a:cubicBezTo>
                      <a:lnTo>
                        <a:pt x="6605" y="18447"/>
                      </a:lnTo>
                      <a:cubicBezTo>
                        <a:pt x="6605" y="18447"/>
                        <a:pt x="6705" y="18347"/>
                        <a:pt x="6838" y="18181"/>
                      </a:cubicBezTo>
                      <a:cubicBezTo>
                        <a:pt x="6938" y="18047"/>
                        <a:pt x="7105" y="17847"/>
                        <a:pt x="7272" y="17647"/>
                      </a:cubicBezTo>
                      <a:cubicBezTo>
                        <a:pt x="7439" y="17413"/>
                        <a:pt x="7539" y="17280"/>
                        <a:pt x="7639" y="17113"/>
                      </a:cubicBezTo>
                      <a:cubicBezTo>
                        <a:pt x="7806" y="17180"/>
                        <a:pt x="7973" y="17213"/>
                        <a:pt x="8139" y="17213"/>
                      </a:cubicBezTo>
                      <a:lnTo>
                        <a:pt x="8339" y="17247"/>
                      </a:lnTo>
                      <a:lnTo>
                        <a:pt x="8540" y="17280"/>
                      </a:lnTo>
                      <a:cubicBezTo>
                        <a:pt x="8706" y="17313"/>
                        <a:pt x="8873" y="17313"/>
                        <a:pt x="9040" y="17313"/>
                      </a:cubicBezTo>
                      <a:cubicBezTo>
                        <a:pt x="9107" y="17480"/>
                        <a:pt x="9173" y="17714"/>
                        <a:pt x="9240" y="17914"/>
                      </a:cubicBezTo>
                      <a:cubicBezTo>
                        <a:pt x="9440" y="18414"/>
                        <a:pt x="9674" y="18881"/>
                        <a:pt x="9674" y="18881"/>
                      </a:cubicBezTo>
                      <a:lnTo>
                        <a:pt x="10041" y="18881"/>
                      </a:lnTo>
                      <a:lnTo>
                        <a:pt x="10408" y="18848"/>
                      </a:lnTo>
                      <a:cubicBezTo>
                        <a:pt x="10541" y="18848"/>
                        <a:pt x="10674" y="18814"/>
                        <a:pt x="10808" y="18781"/>
                      </a:cubicBezTo>
                      <a:cubicBezTo>
                        <a:pt x="11075" y="18748"/>
                        <a:pt x="11342" y="18714"/>
                        <a:pt x="11575" y="18648"/>
                      </a:cubicBezTo>
                      <a:lnTo>
                        <a:pt x="11942" y="18581"/>
                      </a:lnTo>
                      <a:cubicBezTo>
                        <a:pt x="11942" y="18581"/>
                        <a:pt x="12009" y="18047"/>
                        <a:pt x="12075" y="17547"/>
                      </a:cubicBezTo>
                      <a:cubicBezTo>
                        <a:pt x="12075" y="17313"/>
                        <a:pt x="12075" y="17080"/>
                        <a:pt x="12075" y="16913"/>
                      </a:cubicBezTo>
                      <a:cubicBezTo>
                        <a:pt x="12276" y="16813"/>
                        <a:pt x="12442" y="16780"/>
                        <a:pt x="12576" y="16713"/>
                      </a:cubicBezTo>
                      <a:lnTo>
                        <a:pt x="12743" y="16646"/>
                      </a:lnTo>
                      <a:lnTo>
                        <a:pt x="12909" y="16546"/>
                      </a:lnTo>
                      <a:cubicBezTo>
                        <a:pt x="13076" y="16479"/>
                        <a:pt x="13243" y="16413"/>
                        <a:pt x="13376" y="16313"/>
                      </a:cubicBezTo>
                      <a:cubicBezTo>
                        <a:pt x="13510" y="16413"/>
                        <a:pt x="13677" y="16579"/>
                        <a:pt x="13877" y="16713"/>
                      </a:cubicBezTo>
                      <a:cubicBezTo>
                        <a:pt x="14277" y="17013"/>
                        <a:pt x="14744" y="17280"/>
                        <a:pt x="14744" y="17280"/>
                      </a:cubicBezTo>
                      <a:lnTo>
                        <a:pt x="15011" y="17080"/>
                      </a:lnTo>
                      <a:cubicBezTo>
                        <a:pt x="15178" y="16946"/>
                        <a:pt x="15445" y="16780"/>
                        <a:pt x="15645" y="16579"/>
                      </a:cubicBezTo>
                      <a:cubicBezTo>
                        <a:pt x="15845" y="16379"/>
                        <a:pt x="16045" y="16212"/>
                        <a:pt x="16212" y="16046"/>
                      </a:cubicBezTo>
                      <a:lnTo>
                        <a:pt x="16445" y="15779"/>
                      </a:lnTo>
                      <a:cubicBezTo>
                        <a:pt x="16445" y="15779"/>
                        <a:pt x="16245" y="15312"/>
                        <a:pt x="16012" y="14845"/>
                      </a:cubicBezTo>
                      <a:cubicBezTo>
                        <a:pt x="15912" y="14645"/>
                        <a:pt x="15778" y="14445"/>
                        <a:pt x="15711" y="14311"/>
                      </a:cubicBezTo>
                      <a:lnTo>
                        <a:pt x="16012" y="13877"/>
                      </a:lnTo>
                      <a:lnTo>
                        <a:pt x="16112" y="13711"/>
                      </a:lnTo>
                      <a:lnTo>
                        <a:pt x="16212" y="13544"/>
                      </a:lnTo>
                      <a:cubicBezTo>
                        <a:pt x="16278" y="13444"/>
                        <a:pt x="16379" y="13310"/>
                        <a:pt x="16479" y="13110"/>
                      </a:cubicBezTo>
                      <a:cubicBezTo>
                        <a:pt x="16645" y="13110"/>
                        <a:pt x="16846" y="13144"/>
                        <a:pt x="17079" y="13144"/>
                      </a:cubicBezTo>
                      <a:cubicBezTo>
                        <a:pt x="17346" y="13177"/>
                        <a:pt x="17613" y="13185"/>
                        <a:pt x="17813" y="13185"/>
                      </a:cubicBezTo>
                      <a:cubicBezTo>
                        <a:pt x="18013" y="13185"/>
                        <a:pt x="18146" y="13177"/>
                        <a:pt x="18146" y="13177"/>
                      </a:cubicBezTo>
                      <a:cubicBezTo>
                        <a:pt x="18146" y="13144"/>
                        <a:pt x="18146" y="13144"/>
                        <a:pt x="18180" y="13110"/>
                      </a:cubicBezTo>
                      <a:cubicBezTo>
                        <a:pt x="18213" y="13044"/>
                        <a:pt x="18213" y="12943"/>
                        <a:pt x="18280" y="12843"/>
                      </a:cubicBezTo>
                      <a:cubicBezTo>
                        <a:pt x="18347" y="12643"/>
                        <a:pt x="18447" y="12376"/>
                        <a:pt x="18513" y="12110"/>
                      </a:cubicBezTo>
                      <a:lnTo>
                        <a:pt x="18714" y="11342"/>
                      </a:lnTo>
                      <a:cubicBezTo>
                        <a:pt x="18747" y="11109"/>
                        <a:pt x="18780" y="10975"/>
                        <a:pt x="18780" y="10975"/>
                      </a:cubicBezTo>
                      <a:cubicBezTo>
                        <a:pt x="18780" y="10975"/>
                        <a:pt x="18347" y="10675"/>
                        <a:pt x="17880" y="10442"/>
                      </a:cubicBezTo>
                      <a:cubicBezTo>
                        <a:pt x="17679" y="10375"/>
                        <a:pt x="17479" y="10242"/>
                        <a:pt x="17313" y="10175"/>
                      </a:cubicBezTo>
                      <a:lnTo>
                        <a:pt x="17346" y="9441"/>
                      </a:lnTo>
                      <a:lnTo>
                        <a:pt x="17313" y="8740"/>
                      </a:lnTo>
                      <a:cubicBezTo>
                        <a:pt x="17479" y="8674"/>
                        <a:pt x="17679" y="8540"/>
                        <a:pt x="17880" y="8440"/>
                      </a:cubicBezTo>
                      <a:cubicBezTo>
                        <a:pt x="18313" y="8207"/>
                        <a:pt x="18747" y="7907"/>
                        <a:pt x="18747" y="7907"/>
                      </a:cubicBezTo>
                      <a:cubicBezTo>
                        <a:pt x="18747" y="7907"/>
                        <a:pt x="18747" y="7773"/>
                        <a:pt x="18714" y="7540"/>
                      </a:cubicBezTo>
                      <a:lnTo>
                        <a:pt x="18513" y="6772"/>
                      </a:lnTo>
                      <a:cubicBezTo>
                        <a:pt x="18447" y="6505"/>
                        <a:pt x="18313" y="6239"/>
                        <a:pt x="18247" y="6038"/>
                      </a:cubicBezTo>
                      <a:cubicBezTo>
                        <a:pt x="18213" y="5938"/>
                        <a:pt x="18180" y="5838"/>
                        <a:pt x="18146" y="5805"/>
                      </a:cubicBezTo>
                      <a:cubicBezTo>
                        <a:pt x="18146" y="5772"/>
                        <a:pt x="18146" y="5738"/>
                        <a:pt x="18113" y="5705"/>
                      </a:cubicBezTo>
                      <a:cubicBezTo>
                        <a:pt x="18113" y="5705"/>
                        <a:pt x="17579" y="5705"/>
                        <a:pt x="17079" y="5738"/>
                      </a:cubicBezTo>
                      <a:cubicBezTo>
                        <a:pt x="16846" y="5738"/>
                        <a:pt x="16645" y="5772"/>
                        <a:pt x="16445" y="5772"/>
                      </a:cubicBezTo>
                      <a:cubicBezTo>
                        <a:pt x="16345" y="5605"/>
                        <a:pt x="16245" y="5438"/>
                        <a:pt x="16178" y="5338"/>
                      </a:cubicBezTo>
                      <a:lnTo>
                        <a:pt x="16112" y="5171"/>
                      </a:lnTo>
                      <a:lnTo>
                        <a:pt x="16012" y="5004"/>
                      </a:lnTo>
                      <a:lnTo>
                        <a:pt x="15711" y="4571"/>
                      </a:lnTo>
                      <a:cubicBezTo>
                        <a:pt x="15778" y="4404"/>
                        <a:pt x="15912" y="4237"/>
                        <a:pt x="16012" y="4037"/>
                      </a:cubicBezTo>
                      <a:cubicBezTo>
                        <a:pt x="16245" y="3570"/>
                        <a:pt x="16445" y="3103"/>
                        <a:pt x="16445" y="3103"/>
                      </a:cubicBezTo>
                      <a:lnTo>
                        <a:pt x="16212" y="2836"/>
                      </a:lnTo>
                      <a:cubicBezTo>
                        <a:pt x="16078" y="2669"/>
                        <a:pt x="15845" y="2469"/>
                        <a:pt x="15645" y="2302"/>
                      </a:cubicBezTo>
                      <a:cubicBezTo>
                        <a:pt x="15445" y="2102"/>
                        <a:pt x="15211" y="1936"/>
                        <a:pt x="15011" y="1802"/>
                      </a:cubicBezTo>
                      <a:lnTo>
                        <a:pt x="14744" y="1569"/>
                      </a:lnTo>
                      <a:cubicBezTo>
                        <a:pt x="14744" y="1569"/>
                        <a:pt x="14277" y="1869"/>
                        <a:pt x="13877" y="2169"/>
                      </a:cubicBezTo>
                      <a:cubicBezTo>
                        <a:pt x="13677" y="2302"/>
                        <a:pt x="13510" y="2436"/>
                        <a:pt x="13376" y="2569"/>
                      </a:cubicBezTo>
                      <a:cubicBezTo>
                        <a:pt x="13243" y="2469"/>
                        <a:pt x="13076" y="2403"/>
                        <a:pt x="12909" y="2336"/>
                      </a:cubicBezTo>
                      <a:lnTo>
                        <a:pt x="12743" y="2236"/>
                      </a:lnTo>
                      <a:lnTo>
                        <a:pt x="12576" y="2169"/>
                      </a:lnTo>
                      <a:cubicBezTo>
                        <a:pt x="12442" y="2102"/>
                        <a:pt x="12276" y="2036"/>
                        <a:pt x="12075" y="1969"/>
                      </a:cubicBezTo>
                      <a:cubicBezTo>
                        <a:pt x="12075" y="1802"/>
                        <a:pt x="12075" y="1569"/>
                        <a:pt x="12075" y="1335"/>
                      </a:cubicBezTo>
                      <a:cubicBezTo>
                        <a:pt x="12009" y="835"/>
                        <a:pt x="11942" y="301"/>
                        <a:pt x="11942" y="301"/>
                      </a:cubicBezTo>
                      <a:lnTo>
                        <a:pt x="11575" y="234"/>
                      </a:lnTo>
                      <a:cubicBezTo>
                        <a:pt x="11342" y="168"/>
                        <a:pt x="11075" y="101"/>
                        <a:pt x="10808" y="68"/>
                      </a:cubicBezTo>
                      <a:cubicBezTo>
                        <a:pt x="10674" y="68"/>
                        <a:pt x="10541" y="34"/>
                        <a:pt x="10408" y="34"/>
                      </a:cubicBezTo>
                      <a:lnTo>
                        <a:pt x="10041" y="1"/>
                      </a:ln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5" name="Google Shape;2723;p70">
                  <a:extLst>
                    <a:ext uri="{FF2B5EF4-FFF2-40B4-BE49-F238E27FC236}">
                      <a16:creationId xmlns:a16="http://schemas.microsoft.com/office/drawing/2014/main" id="{B9EB846D-ACC0-F6D9-38D4-6772447D67CA}"/>
                    </a:ext>
                  </a:extLst>
                </p:cNvPr>
                <p:cNvSpPr/>
                <p:nvPr/>
              </p:nvSpPr>
              <p:spPr>
                <a:xfrm rot="-1490104">
                  <a:off x="1611679" y="2635340"/>
                  <a:ext cx="636418" cy="639841"/>
                </a:xfrm>
                <a:custGeom>
                  <a:avLst/>
                  <a:gdLst/>
                  <a:ahLst/>
                  <a:cxnLst/>
                  <a:rect l="l" t="t" r="r" b="b"/>
                  <a:pathLst>
                    <a:path w="18781" h="18882" extrusionOk="0">
                      <a:moveTo>
                        <a:pt x="9274" y="3801"/>
                      </a:moveTo>
                      <a:cubicBezTo>
                        <a:pt x="12166" y="3801"/>
                        <a:pt x="14944" y="6056"/>
                        <a:pt x="14944" y="9441"/>
                      </a:cubicBezTo>
                      <a:cubicBezTo>
                        <a:pt x="14944" y="12543"/>
                        <a:pt x="12442" y="15078"/>
                        <a:pt x="9340" y="15078"/>
                      </a:cubicBezTo>
                      <a:lnTo>
                        <a:pt x="9307" y="15078"/>
                      </a:lnTo>
                      <a:cubicBezTo>
                        <a:pt x="4303" y="15078"/>
                        <a:pt x="1801" y="9007"/>
                        <a:pt x="5337" y="5471"/>
                      </a:cubicBezTo>
                      <a:cubicBezTo>
                        <a:pt x="6481" y="4317"/>
                        <a:pt x="7891" y="3801"/>
                        <a:pt x="9274" y="3801"/>
                      </a:cubicBezTo>
                      <a:close/>
                      <a:moveTo>
                        <a:pt x="9674" y="1"/>
                      </a:moveTo>
                      <a:cubicBezTo>
                        <a:pt x="9674" y="1"/>
                        <a:pt x="9440" y="468"/>
                        <a:pt x="9240" y="968"/>
                      </a:cubicBezTo>
                      <a:cubicBezTo>
                        <a:pt x="9173" y="1168"/>
                        <a:pt x="9107" y="1368"/>
                        <a:pt x="9040" y="1569"/>
                      </a:cubicBezTo>
                      <a:cubicBezTo>
                        <a:pt x="8873" y="1569"/>
                        <a:pt x="8706" y="1569"/>
                        <a:pt x="8540" y="1602"/>
                      </a:cubicBezTo>
                      <a:lnTo>
                        <a:pt x="8339" y="1635"/>
                      </a:lnTo>
                      <a:lnTo>
                        <a:pt x="8139" y="1669"/>
                      </a:lnTo>
                      <a:cubicBezTo>
                        <a:pt x="7973" y="1669"/>
                        <a:pt x="7806" y="1702"/>
                        <a:pt x="7639" y="1769"/>
                      </a:cubicBezTo>
                      <a:cubicBezTo>
                        <a:pt x="7539" y="1602"/>
                        <a:pt x="7405" y="1435"/>
                        <a:pt x="7272" y="1235"/>
                      </a:cubicBezTo>
                      <a:cubicBezTo>
                        <a:pt x="7139" y="1068"/>
                        <a:pt x="6938" y="835"/>
                        <a:pt x="6838" y="668"/>
                      </a:cubicBezTo>
                      <a:cubicBezTo>
                        <a:pt x="6705" y="535"/>
                        <a:pt x="6605" y="434"/>
                        <a:pt x="6605" y="434"/>
                      </a:cubicBezTo>
                      <a:lnTo>
                        <a:pt x="6271" y="568"/>
                      </a:lnTo>
                      <a:cubicBezTo>
                        <a:pt x="6004" y="635"/>
                        <a:pt x="5771" y="735"/>
                        <a:pt x="5537" y="835"/>
                      </a:cubicBezTo>
                      <a:cubicBezTo>
                        <a:pt x="5271" y="968"/>
                        <a:pt x="5004" y="1102"/>
                        <a:pt x="4837" y="1202"/>
                      </a:cubicBezTo>
                      <a:lnTo>
                        <a:pt x="4537" y="1402"/>
                      </a:lnTo>
                      <a:cubicBezTo>
                        <a:pt x="4537" y="1402"/>
                        <a:pt x="4570" y="1902"/>
                        <a:pt x="4704" y="2403"/>
                      </a:cubicBezTo>
                      <a:cubicBezTo>
                        <a:pt x="4737" y="2636"/>
                        <a:pt x="4804" y="2870"/>
                        <a:pt x="4837" y="3036"/>
                      </a:cubicBezTo>
                      <a:lnTo>
                        <a:pt x="4437" y="3337"/>
                      </a:lnTo>
                      <a:lnTo>
                        <a:pt x="4270" y="3470"/>
                      </a:lnTo>
                      <a:lnTo>
                        <a:pt x="4136" y="3603"/>
                      </a:lnTo>
                      <a:cubicBezTo>
                        <a:pt x="4003" y="3703"/>
                        <a:pt x="3870" y="3837"/>
                        <a:pt x="3770" y="3970"/>
                      </a:cubicBezTo>
                      <a:cubicBezTo>
                        <a:pt x="3603" y="3904"/>
                        <a:pt x="3403" y="3804"/>
                        <a:pt x="3169" y="3737"/>
                      </a:cubicBezTo>
                      <a:cubicBezTo>
                        <a:pt x="2702" y="3537"/>
                        <a:pt x="2202" y="3403"/>
                        <a:pt x="2202" y="3403"/>
                      </a:cubicBezTo>
                      <a:cubicBezTo>
                        <a:pt x="2168" y="3437"/>
                        <a:pt x="2135" y="3437"/>
                        <a:pt x="2135" y="3470"/>
                      </a:cubicBezTo>
                      <a:cubicBezTo>
                        <a:pt x="2102" y="3537"/>
                        <a:pt x="2035" y="3603"/>
                        <a:pt x="1968" y="3703"/>
                      </a:cubicBezTo>
                      <a:cubicBezTo>
                        <a:pt x="1801" y="3904"/>
                        <a:pt x="1668" y="4104"/>
                        <a:pt x="1501" y="4337"/>
                      </a:cubicBezTo>
                      <a:cubicBezTo>
                        <a:pt x="1368" y="4571"/>
                        <a:pt x="1201" y="4804"/>
                        <a:pt x="1101" y="5004"/>
                      </a:cubicBezTo>
                      <a:lnTo>
                        <a:pt x="934" y="5338"/>
                      </a:lnTo>
                      <a:cubicBezTo>
                        <a:pt x="934" y="5338"/>
                        <a:pt x="1268" y="5738"/>
                        <a:pt x="1635" y="6105"/>
                      </a:cubicBezTo>
                      <a:cubicBezTo>
                        <a:pt x="1801" y="6272"/>
                        <a:pt x="1968" y="6405"/>
                        <a:pt x="2102" y="6539"/>
                      </a:cubicBezTo>
                      <a:cubicBezTo>
                        <a:pt x="2035" y="6739"/>
                        <a:pt x="1968" y="6906"/>
                        <a:pt x="1902" y="7039"/>
                      </a:cubicBezTo>
                      <a:cubicBezTo>
                        <a:pt x="1902" y="7073"/>
                        <a:pt x="1868" y="7106"/>
                        <a:pt x="1868" y="7173"/>
                      </a:cubicBezTo>
                      <a:lnTo>
                        <a:pt x="1868" y="7206"/>
                      </a:lnTo>
                      <a:cubicBezTo>
                        <a:pt x="1868" y="7206"/>
                        <a:pt x="1801" y="7473"/>
                        <a:pt x="1701" y="7907"/>
                      </a:cubicBezTo>
                      <a:cubicBezTo>
                        <a:pt x="1535" y="7940"/>
                        <a:pt x="1301" y="7973"/>
                        <a:pt x="1101" y="8007"/>
                      </a:cubicBezTo>
                      <a:cubicBezTo>
                        <a:pt x="601" y="8140"/>
                        <a:pt x="67" y="8307"/>
                        <a:pt x="67" y="8307"/>
                      </a:cubicBezTo>
                      <a:cubicBezTo>
                        <a:pt x="67" y="8407"/>
                        <a:pt x="34" y="8540"/>
                        <a:pt x="34" y="8640"/>
                      </a:cubicBezTo>
                      <a:cubicBezTo>
                        <a:pt x="34" y="8874"/>
                        <a:pt x="34" y="9141"/>
                        <a:pt x="0" y="9441"/>
                      </a:cubicBezTo>
                      <a:cubicBezTo>
                        <a:pt x="0" y="9741"/>
                        <a:pt x="34" y="10008"/>
                        <a:pt x="34" y="10242"/>
                      </a:cubicBezTo>
                      <a:cubicBezTo>
                        <a:pt x="34" y="10342"/>
                        <a:pt x="67" y="10475"/>
                        <a:pt x="67" y="10575"/>
                      </a:cubicBezTo>
                      <a:cubicBezTo>
                        <a:pt x="67" y="10575"/>
                        <a:pt x="601" y="10742"/>
                        <a:pt x="1101" y="10842"/>
                      </a:cubicBezTo>
                      <a:cubicBezTo>
                        <a:pt x="1301" y="10909"/>
                        <a:pt x="1535" y="10942"/>
                        <a:pt x="1701" y="10975"/>
                      </a:cubicBezTo>
                      <a:cubicBezTo>
                        <a:pt x="1801" y="11376"/>
                        <a:pt x="1868" y="11676"/>
                        <a:pt x="1868" y="11676"/>
                      </a:cubicBezTo>
                      <a:lnTo>
                        <a:pt x="1868" y="11709"/>
                      </a:lnTo>
                      <a:cubicBezTo>
                        <a:pt x="1868" y="11743"/>
                        <a:pt x="1902" y="11809"/>
                        <a:pt x="1902" y="11843"/>
                      </a:cubicBezTo>
                      <a:cubicBezTo>
                        <a:pt x="1968" y="11976"/>
                        <a:pt x="2035" y="12143"/>
                        <a:pt x="2102" y="12343"/>
                      </a:cubicBezTo>
                      <a:cubicBezTo>
                        <a:pt x="1968" y="12443"/>
                        <a:pt x="1801" y="12610"/>
                        <a:pt x="1635" y="12777"/>
                      </a:cubicBezTo>
                      <a:cubicBezTo>
                        <a:pt x="1268" y="13144"/>
                        <a:pt x="934" y="13544"/>
                        <a:pt x="934" y="13544"/>
                      </a:cubicBezTo>
                      <a:lnTo>
                        <a:pt x="1101" y="13877"/>
                      </a:lnTo>
                      <a:cubicBezTo>
                        <a:pt x="1201" y="14044"/>
                        <a:pt x="1334" y="14278"/>
                        <a:pt x="1501" y="14545"/>
                      </a:cubicBezTo>
                      <a:cubicBezTo>
                        <a:pt x="1668" y="14778"/>
                        <a:pt x="1801" y="14978"/>
                        <a:pt x="1968" y="15178"/>
                      </a:cubicBezTo>
                      <a:cubicBezTo>
                        <a:pt x="2035" y="15278"/>
                        <a:pt x="2102" y="15345"/>
                        <a:pt x="2135" y="15379"/>
                      </a:cubicBezTo>
                      <a:cubicBezTo>
                        <a:pt x="2135" y="15412"/>
                        <a:pt x="2168" y="15445"/>
                        <a:pt x="2202" y="15479"/>
                      </a:cubicBezTo>
                      <a:cubicBezTo>
                        <a:pt x="2202" y="15479"/>
                        <a:pt x="2702" y="15312"/>
                        <a:pt x="3169" y="15145"/>
                      </a:cubicBezTo>
                      <a:cubicBezTo>
                        <a:pt x="3403" y="15078"/>
                        <a:pt x="3603" y="14978"/>
                        <a:pt x="3770" y="14912"/>
                      </a:cubicBezTo>
                      <a:cubicBezTo>
                        <a:pt x="3903" y="15078"/>
                        <a:pt x="4036" y="15178"/>
                        <a:pt x="4136" y="15278"/>
                      </a:cubicBezTo>
                      <a:lnTo>
                        <a:pt x="4270" y="15412"/>
                      </a:lnTo>
                      <a:lnTo>
                        <a:pt x="4437" y="15545"/>
                      </a:lnTo>
                      <a:lnTo>
                        <a:pt x="4837" y="15846"/>
                      </a:lnTo>
                      <a:cubicBezTo>
                        <a:pt x="4804" y="16012"/>
                        <a:pt x="4737" y="16246"/>
                        <a:pt x="4704" y="16479"/>
                      </a:cubicBezTo>
                      <a:cubicBezTo>
                        <a:pt x="4570" y="16946"/>
                        <a:pt x="4537" y="17480"/>
                        <a:pt x="4537" y="17480"/>
                      </a:cubicBezTo>
                      <a:lnTo>
                        <a:pt x="4837" y="17680"/>
                      </a:lnTo>
                      <a:cubicBezTo>
                        <a:pt x="5004" y="17780"/>
                        <a:pt x="5271" y="17880"/>
                        <a:pt x="5537" y="18014"/>
                      </a:cubicBezTo>
                      <a:cubicBezTo>
                        <a:pt x="5771" y="18147"/>
                        <a:pt x="6004" y="18247"/>
                        <a:pt x="6271" y="18314"/>
                      </a:cubicBezTo>
                      <a:lnTo>
                        <a:pt x="6605" y="18447"/>
                      </a:lnTo>
                      <a:cubicBezTo>
                        <a:pt x="6605" y="18447"/>
                        <a:pt x="6705" y="18347"/>
                        <a:pt x="6838" y="18181"/>
                      </a:cubicBezTo>
                      <a:cubicBezTo>
                        <a:pt x="6938" y="18047"/>
                        <a:pt x="7105" y="17847"/>
                        <a:pt x="7272" y="17647"/>
                      </a:cubicBezTo>
                      <a:cubicBezTo>
                        <a:pt x="7439" y="17413"/>
                        <a:pt x="7539" y="17280"/>
                        <a:pt x="7639" y="17113"/>
                      </a:cubicBezTo>
                      <a:cubicBezTo>
                        <a:pt x="7806" y="17180"/>
                        <a:pt x="7973" y="17213"/>
                        <a:pt x="8139" y="17213"/>
                      </a:cubicBezTo>
                      <a:lnTo>
                        <a:pt x="8339" y="17247"/>
                      </a:lnTo>
                      <a:lnTo>
                        <a:pt x="8540" y="17280"/>
                      </a:lnTo>
                      <a:cubicBezTo>
                        <a:pt x="8706" y="17313"/>
                        <a:pt x="8873" y="17313"/>
                        <a:pt x="9040" y="17313"/>
                      </a:cubicBezTo>
                      <a:cubicBezTo>
                        <a:pt x="9107" y="17480"/>
                        <a:pt x="9173" y="17714"/>
                        <a:pt x="9240" y="17914"/>
                      </a:cubicBezTo>
                      <a:cubicBezTo>
                        <a:pt x="9440" y="18414"/>
                        <a:pt x="9674" y="18881"/>
                        <a:pt x="9674" y="18881"/>
                      </a:cubicBezTo>
                      <a:lnTo>
                        <a:pt x="10041" y="18881"/>
                      </a:lnTo>
                      <a:lnTo>
                        <a:pt x="10408" y="18848"/>
                      </a:lnTo>
                      <a:cubicBezTo>
                        <a:pt x="10541" y="18848"/>
                        <a:pt x="10674" y="18814"/>
                        <a:pt x="10808" y="18781"/>
                      </a:cubicBezTo>
                      <a:cubicBezTo>
                        <a:pt x="11075" y="18748"/>
                        <a:pt x="11342" y="18714"/>
                        <a:pt x="11575" y="18648"/>
                      </a:cubicBezTo>
                      <a:lnTo>
                        <a:pt x="11942" y="18581"/>
                      </a:lnTo>
                      <a:cubicBezTo>
                        <a:pt x="11942" y="18581"/>
                        <a:pt x="12009" y="18047"/>
                        <a:pt x="12075" y="17547"/>
                      </a:cubicBezTo>
                      <a:cubicBezTo>
                        <a:pt x="12075" y="17313"/>
                        <a:pt x="12075" y="17080"/>
                        <a:pt x="12075" y="16913"/>
                      </a:cubicBezTo>
                      <a:cubicBezTo>
                        <a:pt x="12276" y="16813"/>
                        <a:pt x="12442" y="16780"/>
                        <a:pt x="12576" y="16713"/>
                      </a:cubicBezTo>
                      <a:lnTo>
                        <a:pt x="12743" y="16646"/>
                      </a:lnTo>
                      <a:lnTo>
                        <a:pt x="12909" y="16546"/>
                      </a:lnTo>
                      <a:cubicBezTo>
                        <a:pt x="13076" y="16479"/>
                        <a:pt x="13243" y="16413"/>
                        <a:pt x="13376" y="16313"/>
                      </a:cubicBezTo>
                      <a:cubicBezTo>
                        <a:pt x="13510" y="16413"/>
                        <a:pt x="13677" y="16579"/>
                        <a:pt x="13877" y="16713"/>
                      </a:cubicBezTo>
                      <a:cubicBezTo>
                        <a:pt x="14277" y="17013"/>
                        <a:pt x="14744" y="17280"/>
                        <a:pt x="14744" y="17280"/>
                      </a:cubicBezTo>
                      <a:lnTo>
                        <a:pt x="15011" y="17080"/>
                      </a:lnTo>
                      <a:cubicBezTo>
                        <a:pt x="15178" y="16946"/>
                        <a:pt x="15445" y="16780"/>
                        <a:pt x="15645" y="16579"/>
                      </a:cubicBezTo>
                      <a:cubicBezTo>
                        <a:pt x="15845" y="16379"/>
                        <a:pt x="16045" y="16212"/>
                        <a:pt x="16212" y="16046"/>
                      </a:cubicBezTo>
                      <a:lnTo>
                        <a:pt x="16445" y="15779"/>
                      </a:lnTo>
                      <a:cubicBezTo>
                        <a:pt x="16445" y="15779"/>
                        <a:pt x="16245" y="15312"/>
                        <a:pt x="16012" y="14845"/>
                      </a:cubicBezTo>
                      <a:cubicBezTo>
                        <a:pt x="15912" y="14645"/>
                        <a:pt x="15778" y="14445"/>
                        <a:pt x="15711" y="14311"/>
                      </a:cubicBezTo>
                      <a:lnTo>
                        <a:pt x="16012" y="13877"/>
                      </a:lnTo>
                      <a:lnTo>
                        <a:pt x="16112" y="13711"/>
                      </a:lnTo>
                      <a:lnTo>
                        <a:pt x="16212" y="13544"/>
                      </a:lnTo>
                      <a:cubicBezTo>
                        <a:pt x="16278" y="13444"/>
                        <a:pt x="16379" y="13310"/>
                        <a:pt x="16479" y="13110"/>
                      </a:cubicBezTo>
                      <a:cubicBezTo>
                        <a:pt x="16645" y="13110"/>
                        <a:pt x="16846" y="13144"/>
                        <a:pt x="17079" y="13144"/>
                      </a:cubicBezTo>
                      <a:cubicBezTo>
                        <a:pt x="17346" y="13177"/>
                        <a:pt x="17613" y="13185"/>
                        <a:pt x="17813" y="13185"/>
                      </a:cubicBezTo>
                      <a:cubicBezTo>
                        <a:pt x="18013" y="13185"/>
                        <a:pt x="18146" y="13177"/>
                        <a:pt x="18146" y="13177"/>
                      </a:cubicBezTo>
                      <a:cubicBezTo>
                        <a:pt x="18146" y="13144"/>
                        <a:pt x="18146" y="13144"/>
                        <a:pt x="18180" y="13110"/>
                      </a:cubicBezTo>
                      <a:cubicBezTo>
                        <a:pt x="18213" y="13044"/>
                        <a:pt x="18213" y="12943"/>
                        <a:pt x="18280" y="12843"/>
                      </a:cubicBezTo>
                      <a:cubicBezTo>
                        <a:pt x="18347" y="12643"/>
                        <a:pt x="18447" y="12376"/>
                        <a:pt x="18513" y="12110"/>
                      </a:cubicBezTo>
                      <a:lnTo>
                        <a:pt x="18714" y="11342"/>
                      </a:lnTo>
                      <a:cubicBezTo>
                        <a:pt x="18747" y="11109"/>
                        <a:pt x="18780" y="10975"/>
                        <a:pt x="18780" y="10975"/>
                      </a:cubicBezTo>
                      <a:cubicBezTo>
                        <a:pt x="18780" y="10975"/>
                        <a:pt x="18347" y="10675"/>
                        <a:pt x="17880" y="10442"/>
                      </a:cubicBezTo>
                      <a:cubicBezTo>
                        <a:pt x="17679" y="10375"/>
                        <a:pt x="17479" y="10242"/>
                        <a:pt x="17313" y="10175"/>
                      </a:cubicBezTo>
                      <a:lnTo>
                        <a:pt x="17346" y="9441"/>
                      </a:lnTo>
                      <a:lnTo>
                        <a:pt x="17313" y="8740"/>
                      </a:lnTo>
                      <a:cubicBezTo>
                        <a:pt x="17479" y="8674"/>
                        <a:pt x="17679" y="8540"/>
                        <a:pt x="17880" y="8440"/>
                      </a:cubicBezTo>
                      <a:cubicBezTo>
                        <a:pt x="18313" y="8207"/>
                        <a:pt x="18747" y="7907"/>
                        <a:pt x="18747" y="7907"/>
                      </a:cubicBezTo>
                      <a:cubicBezTo>
                        <a:pt x="18747" y="7907"/>
                        <a:pt x="18747" y="7773"/>
                        <a:pt x="18714" y="7540"/>
                      </a:cubicBezTo>
                      <a:lnTo>
                        <a:pt x="18513" y="6772"/>
                      </a:lnTo>
                      <a:cubicBezTo>
                        <a:pt x="18447" y="6505"/>
                        <a:pt x="18313" y="6239"/>
                        <a:pt x="18247" y="6038"/>
                      </a:cubicBezTo>
                      <a:cubicBezTo>
                        <a:pt x="18213" y="5938"/>
                        <a:pt x="18180" y="5838"/>
                        <a:pt x="18146" y="5805"/>
                      </a:cubicBezTo>
                      <a:cubicBezTo>
                        <a:pt x="18146" y="5772"/>
                        <a:pt x="18146" y="5738"/>
                        <a:pt x="18113" y="5705"/>
                      </a:cubicBezTo>
                      <a:cubicBezTo>
                        <a:pt x="18113" y="5705"/>
                        <a:pt x="17579" y="5705"/>
                        <a:pt x="17079" y="5738"/>
                      </a:cubicBezTo>
                      <a:cubicBezTo>
                        <a:pt x="16846" y="5738"/>
                        <a:pt x="16645" y="5772"/>
                        <a:pt x="16445" y="5772"/>
                      </a:cubicBezTo>
                      <a:cubicBezTo>
                        <a:pt x="16345" y="5605"/>
                        <a:pt x="16245" y="5438"/>
                        <a:pt x="16178" y="5338"/>
                      </a:cubicBezTo>
                      <a:lnTo>
                        <a:pt x="16112" y="5171"/>
                      </a:lnTo>
                      <a:lnTo>
                        <a:pt x="16012" y="5004"/>
                      </a:lnTo>
                      <a:lnTo>
                        <a:pt x="15711" y="4571"/>
                      </a:lnTo>
                      <a:cubicBezTo>
                        <a:pt x="15778" y="4404"/>
                        <a:pt x="15912" y="4237"/>
                        <a:pt x="16012" y="4037"/>
                      </a:cubicBezTo>
                      <a:cubicBezTo>
                        <a:pt x="16245" y="3570"/>
                        <a:pt x="16445" y="3103"/>
                        <a:pt x="16445" y="3103"/>
                      </a:cubicBezTo>
                      <a:lnTo>
                        <a:pt x="16212" y="2836"/>
                      </a:lnTo>
                      <a:cubicBezTo>
                        <a:pt x="16078" y="2669"/>
                        <a:pt x="15845" y="2469"/>
                        <a:pt x="15645" y="2302"/>
                      </a:cubicBezTo>
                      <a:cubicBezTo>
                        <a:pt x="15445" y="2102"/>
                        <a:pt x="15211" y="1936"/>
                        <a:pt x="15011" y="1802"/>
                      </a:cubicBezTo>
                      <a:lnTo>
                        <a:pt x="14744" y="1569"/>
                      </a:lnTo>
                      <a:cubicBezTo>
                        <a:pt x="14744" y="1569"/>
                        <a:pt x="14277" y="1869"/>
                        <a:pt x="13877" y="2169"/>
                      </a:cubicBezTo>
                      <a:cubicBezTo>
                        <a:pt x="13677" y="2302"/>
                        <a:pt x="13510" y="2436"/>
                        <a:pt x="13376" y="2569"/>
                      </a:cubicBezTo>
                      <a:cubicBezTo>
                        <a:pt x="13243" y="2469"/>
                        <a:pt x="13076" y="2403"/>
                        <a:pt x="12909" y="2336"/>
                      </a:cubicBezTo>
                      <a:lnTo>
                        <a:pt x="12743" y="2236"/>
                      </a:lnTo>
                      <a:lnTo>
                        <a:pt x="12576" y="2169"/>
                      </a:lnTo>
                      <a:cubicBezTo>
                        <a:pt x="12442" y="2102"/>
                        <a:pt x="12276" y="2036"/>
                        <a:pt x="12075" y="1969"/>
                      </a:cubicBezTo>
                      <a:cubicBezTo>
                        <a:pt x="12075" y="1802"/>
                        <a:pt x="12075" y="1569"/>
                        <a:pt x="12075" y="1335"/>
                      </a:cubicBezTo>
                      <a:cubicBezTo>
                        <a:pt x="12009" y="835"/>
                        <a:pt x="11942" y="301"/>
                        <a:pt x="11942" y="301"/>
                      </a:cubicBezTo>
                      <a:lnTo>
                        <a:pt x="11575" y="234"/>
                      </a:lnTo>
                      <a:cubicBezTo>
                        <a:pt x="11342" y="168"/>
                        <a:pt x="11075" y="101"/>
                        <a:pt x="10808" y="68"/>
                      </a:cubicBezTo>
                      <a:cubicBezTo>
                        <a:pt x="10674" y="68"/>
                        <a:pt x="10541" y="34"/>
                        <a:pt x="10408" y="34"/>
                      </a:cubicBezTo>
                      <a:lnTo>
                        <a:pt x="10041" y="1"/>
                      </a:ln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2724;p70">
                  <a:extLst>
                    <a:ext uri="{FF2B5EF4-FFF2-40B4-BE49-F238E27FC236}">
                      <a16:creationId xmlns:a16="http://schemas.microsoft.com/office/drawing/2014/main" id="{3FCF97A3-68C8-E0D4-8319-B42702B53754}"/>
                    </a:ext>
                  </a:extLst>
                </p:cNvPr>
                <p:cNvSpPr/>
                <p:nvPr/>
              </p:nvSpPr>
              <p:spPr>
                <a:xfrm rot="-1490218">
                  <a:off x="1870916" y="3323079"/>
                  <a:ext cx="525709" cy="528536"/>
                </a:xfrm>
                <a:custGeom>
                  <a:avLst/>
                  <a:gdLst/>
                  <a:ahLst/>
                  <a:cxnLst/>
                  <a:rect l="l" t="t" r="r" b="b"/>
                  <a:pathLst>
                    <a:path w="18781" h="18882" extrusionOk="0">
                      <a:moveTo>
                        <a:pt x="9274" y="3801"/>
                      </a:moveTo>
                      <a:cubicBezTo>
                        <a:pt x="12166" y="3801"/>
                        <a:pt x="14944" y="6056"/>
                        <a:pt x="14944" y="9441"/>
                      </a:cubicBezTo>
                      <a:cubicBezTo>
                        <a:pt x="14944" y="12543"/>
                        <a:pt x="12442" y="15078"/>
                        <a:pt x="9340" y="15078"/>
                      </a:cubicBezTo>
                      <a:lnTo>
                        <a:pt x="9307" y="15078"/>
                      </a:lnTo>
                      <a:cubicBezTo>
                        <a:pt x="4303" y="15078"/>
                        <a:pt x="1801" y="9007"/>
                        <a:pt x="5337" y="5471"/>
                      </a:cubicBezTo>
                      <a:cubicBezTo>
                        <a:pt x="6481" y="4317"/>
                        <a:pt x="7891" y="3801"/>
                        <a:pt x="9274" y="3801"/>
                      </a:cubicBezTo>
                      <a:close/>
                      <a:moveTo>
                        <a:pt x="9674" y="1"/>
                      </a:moveTo>
                      <a:cubicBezTo>
                        <a:pt x="9674" y="1"/>
                        <a:pt x="9440" y="468"/>
                        <a:pt x="9240" y="968"/>
                      </a:cubicBezTo>
                      <a:cubicBezTo>
                        <a:pt x="9173" y="1168"/>
                        <a:pt x="9107" y="1368"/>
                        <a:pt x="9040" y="1569"/>
                      </a:cubicBezTo>
                      <a:cubicBezTo>
                        <a:pt x="8873" y="1569"/>
                        <a:pt x="8706" y="1569"/>
                        <a:pt x="8540" y="1602"/>
                      </a:cubicBezTo>
                      <a:lnTo>
                        <a:pt x="8339" y="1635"/>
                      </a:lnTo>
                      <a:lnTo>
                        <a:pt x="8139" y="1669"/>
                      </a:lnTo>
                      <a:cubicBezTo>
                        <a:pt x="7973" y="1669"/>
                        <a:pt x="7806" y="1702"/>
                        <a:pt x="7639" y="1769"/>
                      </a:cubicBezTo>
                      <a:cubicBezTo>
                        <a:pt x="7539" y="1602"/>
                        <a:pt x="7405" y="1435"/>
                        <a:pt x="7272" y="1235"/>
                      </a:cubicBezTo>
                      <a:cubicBezTo>
                        <a:pt x="7139" y="1068"/>
                        <a:pt x="6938" y="835"/>
                        <a:pt x="6838" y="668"/>
                      </a:cubicBezTo>
                      <a:cubicBezTo>
                        <a:pt x="6705" y="535"/>
                        <a:pt x="6605" y="434"/>
                        <a:pt x="6605" y="434"/>
                      </a:cubicBezTo>
                      <a:lnTo>
                        <a:pt x="6271" y="568"/>
                      </a:lnTo>
                      <a:cubicBezTo>
                        <a:pt x="6004" y="635"/>
                        <a:pt x="5771" y="735"/>
                        <a:pt x="5537" y="835"/>
                      </a:cubicBezTo>
                      <a:cubicBezTo>
                        <a:pt x="5271" y="968"/>
                        <a:pt x="5004" y="1102"/>
                        <a:pt x="4837" y="1202"/>
                      </a:cubicBezTo>
                      <a:lnTo>
                        <a:pt x="4537" y="1402"/>
                      </a:lnTo>
                      <a:cubicBezTo>
                        <a:pt x="4537" y="1402"/>
                        <a:pt x="4570" y="1902"/>
                        <a:pt x="4704" y="2403"/>
                      </a:cubicBezTo>
                      <a:cubicBezTo>
                        <a:pt x="4737" y="2636"/>
                        <a:pt x="4804" y="2870"/>
                        <a:pt x="4837" y="3036"/>
                      </a:cubicBezTo>
                      <a:lnTo>
                        <a:pt x="4437" y="3337"/>
                      </a:lnTo>
                      <a:lnTo>
                        <a:pt x="4270" y="3470"/>
                      </a:lnTo>
                      <a:lnTo>
                        <a:pt x="4136" y="3603"/>
                      </a:lnTo>
                      <a:cubicBezTo>
                        <a:pt x="4003" y="3703"/>
                        <a:pt x="3870" y="3837"/>
                        <a:pt x="3770" y="3970"/>
                      </a:cubicBezTo>
                      <a:cubicBezTo>
                        <a:pt x="3603" y="3904"/>
                        <a:pt x="3403" y="3804"/>
                        <a:pt x="3169" y="3737"/>
                      </a:cubicBezTo>
                      <a:cubicBezTo>
                        <a:pt x="2702" y="3537"/>
                        <a:pt x="2202" y="3403"/>
                        <a:pt x="2202" y="3403"/>
                      </a:cubicBezTo>
                      <a:cubicBezTo>
                        <a:pt x="2168" y="3437"/>
                        <a:pt x="2135" y="3437"/>
                        <a:pt x="2135" y="3470"/>
                      </a:cubicBezTo>
                      <a:cubicBezTo>
                        <a:pt x="2102" y="3537"/>
                        <a:pt x="2035" y="3603"/>
                        <a:pt x="1968" y="3703"/>
                      </a:cubicBezTo>
                      <a:cubicBezTo>
                        <a:pt x="1801" y="3904"/>
                        <a:pt x="1668" y="4104"/>
                        <a:pt x="1501" y="4337"/>
                      </a:cubicBezTo>
                      <a:cubicBezTo>
                        <a:pt x="1368" y="4571"/>
                        <a:pt x="1201" y="4804"/>
                        <a:pt x="1101" y="5004"/>
                      </a:cubicBezTo>
                      <a:lnTo>
                        <a:pt x="934" y="5338"/>
                      </a:lnTo>
                      <a:cubicBezTo>
                        <a:pt x="934" y="5338"/>
                        <a:pt x="1268" y="5738"/>
                        <a:pt x="1635" y="6105"/>
                      </a:cubicBezTo>
                      <a:cubicBezTo>
                        <a:pt x="1801" y="6272"/>
                        <a:pt x="1968" y="6405"/>
                        <a:pt x="2102" y="6539"/>
                      </a:cubicBezTo>
                      <a:cubicBezTo>
                        <a:pt x="2035" y="6739"/>
                        <a:pt x="1968" y="6906"/>
                        <a:pt x="1902" y="7039"/>
                      </a:cubicBezTo>
                      <a:cubicBezTo>
                        <a:pt x="1902" y="7073"/>
                        <a:pt x="1868" y="7106"/>
                        <a:pt x="1868" y="7173"/>
                      </a:cubicBezTo>
                      <a:lnTo>
                        <a:pt x="1868" y="7206"/>
                      </a:lnTo>
                      <a:cubicBezTo>
                        <a:pt x="1868" y="7206"/>
                        <a:pt x="1801" y="7473"/>
                        <a:pt x="1701" y="7907"/>
                      </a:cubicBezTo>
                      <a:cubicBezTo>
                        <a:pt x="1535" y="7940"/>
                        <a:pt x="1301" y="7973"/>
                        <a:pt x="1101" y="8007"/>
                      </a:cubicBezTo>
                      <a:cubicBezTo>
                        <a:pt x="601" y="8140"/>
                        <a:pt x="67" y="8307"/>
                        <a:pt x="67" y="8307"/>
                      </a:cubicBezTo>
                      <a:cubicBezTo>
                        <a:pt x="67" y="8407"/>
                        <a:pt x="34" y="8540"/>
                        <a:pt x="34" y="8640"/>
                      </a:cubicBezTo>
                      <a:cubicBezTo>
                        <a:pt x="34" y="8874"/>
                        <a:pt x="34" y="9141"/>
                        <a:pt x="0" y="9441"/>
                      </a:cubicBezTo>
                      <a:cubicBezTo>
                        <a:pt x="0" y="9741"/>
                        <a:pt x="34" y="10008"/>
                        <a:pt x="34" y="10242"/>
                      </a:cubicBezTo>
                      <a:cubicBezTo>
                        <a:pt x="34" y="10342"/>
                        <a:pt x="67" y="10475"/>
                        <a:pt x="67" y="10575"/>
                      </a:cubicBezTo>
                      <a:cubicBezTo>
                        <a:pt x="67" y="10575"/>
                        <a:pt x="601" y="10742"/>
                        <a:pt x="1101" y="10842"/>
                      </a:cubicBezTo>
                      <a:cubicBezTo>
                        <a:pt x="1301" y="10909"/>
                        <a:pt x="1535" y="10942"/>
                        <a:pt x="1701" y="10975"/>
                      </a:cubicBezTo>
                      <a:cubicBezTo>
                        <a:pt x="1801" y="11376"/>
                        <a:pt x="1868" y="11676"/>
                        <a:pt x="1868" y="11676"/>
                      </a:cubicBezTo>
                      <a:lnTo>
                        <a:pt x="1868" y="11709"/>
                      </a:lnTo>
                      <a:cubicBezTo>
                        <a:pt x="1868" y="11743"/>
                        <a:pt x="1902" y="11809"/>
                        <a:pt x="1902" y="11843"/>
                      </a:cubicBezTo>
                      <a:cubicBezTo>
                        <a:pt x="1968" y="11976"/>
                        <a:pt x="2035" y="12143"/>
                        <a:pt x="2102" y="12343"/>
                      </a:cubicBezTo>
                      <a:cubicBezTo>
                        <a:pt x="1968" y="12443"/>
                        <a:pt x="1801" y="12610"/>
                        <a:pt x="1635" y="12777"/>
                      </a:cubicBezTo>
                      <a:cubicBezTo>
                        <a:pt x="1268" y="13144"/>
                        <a:pt x="934" y="13544"/>
                        <a:pt x="934" y="13544"/>
                      </a:cubicBezTo>
                      <a:lnTo>
                        <a:pt x="1101" y="13877"/>
                      </a:lnTo>
                      <a:cubicBezTo>
                        <a:pt x="1201" y="14044"/>
                        <a:pt x="1334" y="14278"/>
                        <a:pt x="1501" y="14545"/>
                      </a:cubicBezTo>
                      <a:cubicBezTo>
                        <a:pt x="1668" y="14778"/>
                        <a:pt x="1801" y="14978"/>
                        <a:pt x="1968" y="15178"/>
                      </a:cubicBezTo>
                      <a:cubicBezTo>
                        <a:pt x="2035" y="15278"/>
                        <a:pt x="2102" y="15345"/>
                        <a:pt x="2135" y="15379"/>
                      </a:cubicBezTo>
                      <a:cubicBezTo>
                        <a:pt x="2135" y="15412"/>
                        <a:pt x="2168" y="15445"/>
                        <a:pt x="2202" y="15479"/>
                      </a:cubicBezTo>
                      <a:cubicBezTo>
                        <a:pt x="2202" y="15479"/>
                        <a:pt x="2702" y="15312"/>
                        <a:pt x="3169" y="15145"/>
                      </a:cubicBezTo>
                      <a:cubicBezTo>
                        <a:pt x="3403" y="15078"/>
                        <a:pt x="3603" y="14978"/>
                        <a:pt x="3770" y="14912"/>
                      </a:cubicBezTo>
                      <a:cubicBezTo>
                        <a:pt x="3903" y="15078"/>
                        <a:pt x="4036" y="15178"/>
                        <a:pt x="4136" y="15278"/>
                      </a:cubicBezTo>
                      <a:lnTo>
                        <a:pt x="4270" y="15412"/>
                      </a:lnTo>
                      <a:lnTo>
                        <a:pt x="4437" y="15545"/>
                      </a:lnTo>
                      <a:lnTo>
                        <a:pt x="4837" y="15846"/>
                      </a:lnTo>
                      <a:cubicBezTo>
                        <a:pt x="4804" y="16012"/>
                        <a:pt x="4737" y="16246"/>
                        <a:pt x="4704" y="16479"/>
                      </a:cubicBezTo>
                      <a:cubicBezTo>
                        <a:pt x="4570" y="16946"/>
                        <a:pt x="4537" y="17480"/>
                        <a:pt x="4537" y="17480"/>
                      </a:cubicBezTo>
                      <a:lnTo>
                        <a:pt x="4837" y="17680"/>
                      </a:lnTo>
                      <a:cubicBezTo>
                        <a:pt x="5004" y="17780"/>
                        <a:pt x="5271" y="17880"/>
                        <a:pt x="5537" y="18014"/>
                      </a:cubicBezTo>
                      <a:cubicBezTo>
                        <a:pt x="5771" y="18147"/>
                        <a:pt x="6004" y="18247"/>
                        <a:pt x="6271" y="18314"/>
                      </a:cubicBezTo>
                      <a:lnTo>
                        <a:pt x="6605" y="18447"/>
                      </a:lnTo>
                      <a:cubicBezTo>
                        <a:pt x="6605" y="18447"/>
                        <a:pt x="6705" y="18347"/>
                        <a:pt x="6838" y="18181"/>
                      </a:cubicBezTo>
                      <a:cubicBezTo>
                        <a:pt x="6938" y="18047"/>
                        <a:pt x="7105" y="17847"/>
                        <a:pt x="7272" y="17647"/>
                      </a:cubicBezTo>
                      <a:cubicBezTo>
                        <a:pt x="7439" y="17413"/>
                        <a:pt x="7539" y="17280"/>
                        <a:pt x="7639" y="17113"/>
                      </a:cubicBezTo>
                      <a:cubicBezTo>
                        <a:pt x="7806" y="17180"/>
                        <a:pt x="7973" y="17213"/>
                        <a:pt x="8139" y="17213"/>
                      </a:cubicBezTo>
                      <a:lnTo>
                        <a:pt x="8339" y="17247"/>
                      </a:lnTo>
                      <a:lnTo>
                        <a:pt x="8540" y="17280"/>
                      </a:lnTo>
                      <a:cubicBezTo>
                        <a:pt x="8706" y="17313"/>
                        <a:pt x="8873" y="17313"/>
                        <a:pt x="9040" y="17313"/>
                      </a:cubicBezTo>
                      <a:cubicBezTo>
                        <a:pt x="9107" y="17480"/>
                        <a:pt x="9173" y="17714"/>
                        <a:pt x="9240" y="17914"/>
                      </a:cubicBezTo>
                      <a:cubicBezTo>
                        <a:pt x="9440" y="18414"/>
                        <a:pt x="9674" y="18881"/>
                        <a:pt x="9674" y="18881"/>
                      </a:cubicBezTo>
                      <a:lnTo>
                        <a:pt x="10041" y="18881"/>
                      </a:lnTo>
                      <a:lnTo>
                        <a:pt x="10408" y="18848"/>
                      </a:lnTo>
                      <a:cubicBezTo>
                        <a:pt x="10541" y="18848"/>
                        <a:pt x="10674" y="18814"/>
                        <a:pt x="10808" y="18781"/>
                      </a:cubicBezTo>
                      <a:cubicBezTo>
                        <a:pt x="11075" y="18748"/>
                        <a:pt x="11342" y="18714"/>
                        <a:pt x="11575" y="18648"/>
                      </a:cubicBezTo>
                      <a:lnTo>
                        <a:pt x="11942" y="18581"/>
                      </a:lnTo>
                      <a:cubicBezTo>
                        <a:pt x="11942" y="18581"/>
                        <a:pt x="12009" y="18047"/>
                        <a:pt x="12075" y="17547"/>
                      </a:cubicBezTo>
                      <a:cubicBezTo>
                        <a:pt x="12075" y="17313"/>
                        <a:pt x="12075" y="17080"/>
                        <a:pt x="12075" y="16913"/>
                      </a:cubicBezTo>
                      <a:cubicBezTo>
                        <a:pt x="12276" y="16813"/>
                        <a:pt x="12442" y="16780"/>
                        <a:pt x="12576" y="16713"/>
                      </a:cubicBezTo>
                      <a:lnTo>
                        <a:pt x="12743" y="16646"/>
                      </a:lnTo>
                      <a:lnTo>
                        <a:pt x="12909" y="16546"/>
                      </a:lnTo>
                      <a:cubicBezTo>
                        <a:pt x="13076" y="16479"/>
                        <a:pt x="13243" y="16413"/>
                        <a:pt x="13376" y="16313"/>
                      </a:cubicBezTo>
                      <a:cubicBezTo>
                        <a:pt x="13510" y="16413"/>
                        <a:pt x="13677" y="16579"/>
                        <a:pt x="13877" y="16713"/>
                      </a:cubicBezTo>
                      <a:cubicBezTo>
                        <a:pt x="14277" y="17013"/>
                        <a:pt x="14744" y="17280"/>
                        <a:pt x="14744" y="17280"/>
                      </a:cubicBezTo>
                      <a:lnTo>
                        <a:pt x="15011" y="17080"/>
                      </a:lnTo>
                      <a:cubicBezTo>
                        <a:pt x="15178" y="16946"/>
                        <a:pt x="15445" y="16780"/>
                        <a:pt x="15645" y="16579"/>
                      </a:cubicBezTo>
                      <a:cubicBezTo>
                        <a:pt x="15845" y="16379"/>
                        <a:pt x="16045" y="16212"/>
                        <a:pt x="16212" y="16046"/>
                      </a:cubicBezTo>
                      <a:lnTo>
                        <a:pt x="16445" y="15779"/>
                      </a:lnTo>
                      <a:cubicBezTo>
                        <a:pt x="16445" y="15779"/>
                        <a:pt x="16245" y="15312"/>
                        <a:pt x="16012" y="14845"/>
                      </a:cubicBezTo>
                      <a:cubicBezTo>
                        <a:pt x="15912" y="14645"/>
                        <a:pt x="15778" y="14445"/>
                        <a:pt x="15711" y="14311"/>
                      </a:cubicBezTo>
                      <a:lnTo>
                        <a:pt x="16012" y="13877"/>
                      </a:lnTo>
                      <a:lnTo>
                        <a:pt x="16112" y="13711"/>
                      </a:lnTo>
                      <a:lnTo>
                        <a:pt x="16212" y="13544"/>
                      </a:lnTo>
                      <a:cubicBezTo>
                        <a:pt x="16278" y="13444"/>
                        <a:pt x="16379" y="13310"/>
                        <a:pt x="16479" y="13110"/>
                      </a:cubicBezTo>
                      <a:cubicBezTo>
                        <a:pt x="16645" y="13110"/>
                        <a:pt x="16846" y="13144"/>
                        <a:pt x="17079" y="13144"/>
                      </a:cubicBezTo>
                      <a:cubicBezTo>
                        <a:pt x="17346" y="13177"/>
                        <a:pt x="17613" y="13185"/>
                        <a:pt x="17813" y="13185"/>
                      </a:cubicBezTo>
                      <a:cubicBezTo>
                        <a:pt x="18013" y="13185"/>
                        <a:pt x="18146" y="13177"/>
                        <a:pt x="18146" y="13177"/>
                      </a:cubicBezTo>
                      <a:cubicBezTo>
                        <a:pt x="18146" y="13144"/>
                        <a:pt x="18146" y="13144"/>
                        <a:pt x="18180" y="13110"/>
                      </a:cubicBezTo>
                      <a:cubicBezTo>
                        <a:pt x="18213" y="13044"/>
                        <a:pt x="18213" y="12943"/>
                        <a:pt x="18280" y="12843"/>
                      </a:cubicBezTo>
                      <a:cubicBezTo>
                        <a:pt x="18347" y="12643"/>
                        <a:pt x="18447" y="12376"/>
                        <a:pt x="18513" y="12110"/>
                      </a:cubicBezTo>
                      <a:lnTo>
                        <a:pt x="18714" y="11342"/>
                      </a:lnTo>
                      <a:cubicBezTo>
                        <a:pt x="18747" y="11109"/>
                        <a:pt x="18780" y="10975"/>
                        <a:pt x="18780" y="10975"/>
                      </a:cubicBezTo>
                      <a:cubicBezTo>
                        <a:pt x="18780" y="10975"/>
                        <a:pt x="18347" y="10675"/>
                        <a:pt x="17880" y="10442"/>
                      </a:cubicBezTo>
                      <a:cubicBezTo>
                        <a:pt x="17679" y="10375"/>
                        <a:pt x="17479" y="10242"/>
                        <a:pt x="17313" y="10175"/>
                      </a:cubicBezTo>
                      <a:lnTo>
                        <a:pt x="17346" y="9441"/>
                      </a:lnTo>
                      <a:lnTo>
                        <a:pt x="17313" y="8740"/>
                      </a:lnTo>
                      <a:cubicBezTo>
                        <a:pt x="17479" y="8674"/>
                        <a:pt x="17679" y="8540"/>
                        <a:pt x="17880" y="8440"/>
                      </a:cubicBezTo>
                      <a:cubicBezTo>
                        <a:pt x="18313" y="8207"/>
                        <a:pt x="18747" y="7907"/>
                        <a:pt x="18747" y="7907"/>
                      </a:cubicBezTo>
                      <a:cubicBezTo>
                        <a:pt x="18747" y="7907"/>
                        <a:pt x="18747" y="7773"/>
                        <a:pt x="18714" y="7540"/>
                      </a:cubicBezTo>
                      <a:lnTo>
                        <a:pt x="18513" y="6772"/>
                      </a:lnTo>
                      <a:cubicBezTo>
                        <a:pt x="18447" y="6505"/>
                        <a:pt x="18313" y="6239"/>
                        <a:pt x="18247" y="6038"/>
                      </a:cubicBezTo>
                      <a:cubicBezTo>
                        <a:pt x="18213" y="5938"/>
                        <a:pt x="18180" y="5838"/>
                        <a:pt x="18146" y="5805"/>
                      </a:cubicBezTo>
                      <a:cubicBezTo>
                        <a:pt x="18146" y="5772"/>
                        <a:pt x="18146" y="5738"/>
                        <a:pt x="18113" y="5705"/>
                      </a:cubicBezTo>
                      <a:cubicBezTo>
                        <a:pt x="18113" y="5705"/>
                        <a:pt x="17579" y="5705"/>
                        <a:pt x="17079" y="5738"/>
                      </a:cubicBezTo>
                      <a:cubicBezTo>
                        <a:pt x="16846" y="5738"/>
                        <a:pt x="16645" y="5772"/>
                        <a:pt x="16445" y="5772"/>
                      </a:cubicBezTo>
                      <a:cubicBezTo>
                        <a:pt x="16345" y="5605"/>
                        <a:pt x="16245" y="5438"/>
                        <a:pt x="16178" y="5338"/>
                      </a:cubicBezTo>
                      <a:lnTo>
                        <a:pt x="16112" y="5171"/>
                      </a:lnTo>
                      <a:lnTo>
                        <a:pt x="16012" y="5004"/>
                      </a:lnTo>
                      <a:lnTo>
                        <a:pt x="15711" y="4571"/>
                      </a:lnTo>
                      <a:cubicBezTo>
                        <a:pt x="15778" y="4404"/>
                        <a:pt x="15912" y="4237"/>
                        <a:pt x="16012" y="4037"/>
                      </a:cubicBezTo>
                      <a:cubicBezTo>
                        <a:pt x="16245" y="3570"/>
                        <a:pt x="16445" y="3103"/>
                        <a:pt x="16445" y="3103"/>
                      </a:cubicBezTo>
                      <a:lnTo>
                        <a:pt x="16212" y="2836"/>
                      </a:lnTo>
                      <a:cubicBezTo>
                        <a:pt x="16078" y="2669"/>
                        <a:pt x="15845" y="2469"/>
                        <a:pt x="15645" y="2302"/>
                      </a:cubicBezTo>
                      <a:cubicBezTo>
                        <a:pt x="15445" y="2102"/>
                        <a:pt x="15211" y="1936"/>
                        <a:pt x="15011" y="1802"/>
                      </a:cubicBezTo>
                      <a:lnTo>
                        <a:pt x="14744" y="1569"/>
                      </a:lnTo>
                      <a:cubicBezTo>
                        <a:pt x="14744" y="1569"/>
                        <a:pt x="14277" y="1869"/>
                        <a:pt x="13877" y="2169"/>
                      </a:cubicBezTo>
                      <a:cubicBezTo>
                        <a:pt x="13677" y="2302"/>
                        <a:pt x="13510" y="2436"/>
                        <a:pt x="13376" y="2569"/>
                      </a:cubicBezTo>
                      <a:cubicBezTo>
                        <a:pt x="13243" y="2469"/>
                        <a:pt x="13076" y="2403"/>
                        <a:pt x="12909" y="2336"/>
                      </a:cubicBezTo>
                      <a:lnTo>
                        <a:pt x="12743" y="2236"/>
                      </a:lnTo>
                      <a:lnTo>
                        <a:pt x="12576" y="2169"/>
                      </a:lnTo>
                      <a:cubicBezTo>
                        <a:pt x="12442" y="2102"/>
                        <a:pt x="12276" y="2036"/>
                        <a:pt x="12075" y="1969"/>
                      </a:cubicBezTo>
                      <a:cubicBezTo>
                        <a:pt x="12075" y="1802"/>
                        <a:pt x="12075" y="1569"/>
                        <a:pt x="12075" y="1335"/>
                      </a:cubicBezTo>
                      <a:cubicBezTo>
                        <a:pt x="12009" y="835"/>
                        <a:pt x="11942" y="301"/>
                        <a:pt x="11942" y="301"/>
                      </a:cubicBezTo>
                      <a:lnTo>
                        <a:pt x="11575" y="234"/>
                      </a:lnTo>
                      <a:cubicBezTo>
                        <a:pt x="11342" y="168"/>
                        <a:pt x="11075" y="101"/>
                        <a:pt x="10808" y="68"/>
                      </a:cubicBezTo>
                      <a:cubicBezTo>
                        <a:pt x="10674" y="68"/>
                        <a:pt x="10541" y="34"/>
                        <a:pt x="10408" y="34"/>
                      </a:cubicBezTo>
                      <a:lnTo>
                        <a:pt x="10041" y="1"/>
                      </a:lnTo>
                      <a:close/>
                    </a:path>
                  </a:pathLst>
                </a:cu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78" name="Google Shape;2725;p70">
                <a:extLst>
                  <a:ext uri="{FF2B5EF4-FFF2-40B4-BE49-F238E27FC236}">
                    <a16:creationId xmlns:a16="http://schemas.microsoft.com/office/drawing/2014/main" id="{E3D47EA6-238C-FA11-465D-0625309B7C07}"/>
                  </a:ext>
                </a:extLst>
              </p:cNvPr>
              <p:cNvSpPr/>
              <p:nvPr/>
            </p:nvSpPr>
            <p:spPr>
              <a:xfrm>
                <a:off x="1075550" y="2784863"/>
                <a:ext cx="194400" cy="194400"/>
              </a:xfrm>
              <a:prstGeom prst="ellipse">
                <a:avLst/>
              </a:pr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2726;p70">
                <a:extLst>
                  <a:ext uri="{FF2B5EF4-FFF2-40B4-BE49-F238E27FC236}">
                    <a16:creationId xmlns:a16="http://schemas.microsoft.com/office/drawing/2014/main" id="{2E64A4BD-BF22-0E09-FAE0-0FBFA9C91672}"/>
                  </a:ext>
                </a:extLst>
              </p:cNvPr>
              <p:cNvSpPr/>
              <p:nvPr/>
            </p:nvSpPr>
            <p:spPr>
              <a:xfrm>
                <a:off x="1662950" y="2144625"/>
                <a:ext cx="194400" cy="194400"/>
              </a:xfrm>
              <a:prstGeom prst="ellipse">
                <a:avLst/>
              </a:pr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2727;p70">
                <a:extLst>
                  <a:ext uri="{FF2B5EF4-FFF2-40B4-BE49-F238E27FC236}">
                    <a16:creationId xmlns:a16="http://schemas.microsoft.com/office/drawing/2014/main" id="{19D14AD9-2FD7-52F2-90BD-3C1D7D3992E1}"/>
                  </a:ext>
                </a:extLst>
              </p:cNvPr>
              <p:cNvSpPr/>
              <p:nvPr/>
            </p:nvSpPr>
            <p:spPr>
              <a:xfrm>
                <a:off x="1857350" y="4034504"/>
                <a:ext cx="97800" cy="97800"/>
              </a:xfrm>
              <a:prstGeom prst="ellipse">
                <a:avLst/>
              </a:pr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2728;p70">
                <a:extLst>
                  <a:ext uri="{FF2B5EF4-FFF2-40B4-BE49-F238E27FC236}">
                    <a16:creationId xmlns:a16="http://schemas.microsoft.com/office/drawing/2014/main" id="{04E5C9FA-CA8F-2295-0EAE-48364AC59FD6}"/>
                  </a:ext>
                </a:extLst>
              </p:cNvPr>
              <p:cNvSpPr/>
              <p:nvPr/>
            </p:nvSpPr>
            <p:spPr>
              <a:xfrm>
                <a:off x="972475" y="2603225"/>
                <a:ext cx="42300" cy="42300"/>
              </a:xfrm>
              <a:prstGeom prst="ellipse">
                <a:avLst/>
              </a:pr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2729;p70">
                <a:extLst>
                  <a:ext uri="{FF2B5EF4-FFF2-40B4-BE49-F238E27FC236}">
                    <a16:creationId xmlns:a16="http://schemas.microsoft.com/office/drawing/2014/main" id="{3E9563C2-25EA-C5AC-57F2-475ABD258245}"/>
                  </a:ext>
                </a:extLst>
              </p:cNvPr>
              <p:cNvSpPr/>
              <p:nvPr/>
            </p:nvSpPr>
            <p:spPr>
              <a:xfrm>
                <a:off x="1502050" y="4340138"/>
                <a:ext cx="80100" cy="80100"/>
              </a:xfrm>
              <a:prstGeom prst="ellipse">
                <a:avLst/>
              </a:pr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3" name="Google Shape;2730;p70">
                <a:extLst>
                  <a:ext uri="{FF2B5EF4-FFF2-40B4-BE49-F238E27FC236}">
                    <a16:creationId xmlns:a16="http://schemas.microsoft.com/office/drawing/2014/main" id="{C6F74BB2-1B7B-C2F8-4C4A-3B7EC805C398}"/>
                  </a:ext>
                </a:extLst>
              </p:cNvPr>
              <p:cNvSpPr/>
              <p:nvPr/>
            </p:nvSpPr>
            <p:spPr>
              <a:xfrm>
                <a:off x="2354275" y="4103438"/>
                <a:ext cx="80100" cy="80100"/>
              </a:xfrm>
              <a:prstGeom prst="ellipse">
                <a:avLst/>
              </a:prstGeom>
              <a:grpFill/>
              <a:ln w="3810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76" name="Google Shape;2731;p70">
              <a:extLst>
                <a:ext uri="{FF2B5EF4-FFF2-40B4-BE49-F238E27FC236}">
                  <a16:creationId xmlns:a16="http://schemas.microsoft.com/office/drawing/2014/main" id="{8AB88A07-B35C-4DC3-5E6F-C6FB7B236603}"/>
                </a:ext>
              </a:extLst>
            </p:cNvPr>
            <p:cNvSpPr/>
            <p:nvPr/>
          </p:nvSpPr>
          <p:spPr>
            <a:xfrm flipH="1">
              <a:off x="2323238" y="2634250"/>
              <a:ext cx="381000" cy="495625"/>
            </a:xfrm>
            <a:custGeom>
              <a:avLst/>
              <a:gdLst/>
              <a:ahLst/>
              <a:cxnLst/>
              <a:rect l="l" t="t" r="r" b="b"/>
              <a:pathLst>
                <a:path w="15240" h="19825" extrusionOk="0">
                  <a:moveTo>
                    <a:pt x="13597" y="1"/>
                  </a:moveTo>
                  <a:cubicBezTo>
                    <a:pt x="13347" y="1"/>
                    <a:pt x="13085" y="89"/>
                    <a:pt x="12843" y="294"/>
                  </a:cubicBezTo>
                  <a:lnTo>
                    <a:pt x="4404" y="8733"/>
                  </a:lnTo>
                  <a:lnTo>
                    <a:pt x="4404" y="5698"/>
                  </a:lnTo>
                  <a:cubicBezTo>
                    <a:pt x="4404" y="5298"/>
                    <a:pt x="4304" y="4931"/>
                    <a:pt x="4137" y="4564"/>
                  </a:cubicBezTo>
                  <a:cubicBezTo>
                    <a:pt x="4003" y="4297"/>
                    <a:pt x="3837" y="4063"/>
                    <a:pt x="3636" y="3863"/>
                  </a:cubicBezTo>
                  <a:lnTo>
                    <a:pt x="2702" y="2929"/>
                  </a:lnTo>
                  <a:cubicBezTo>
                    <a:pt x="2452" y="2690"/>
                    <a:pt x="2149" y="2582"/>
                    <a:pt x="1854" y="2582"/>
                  </a:cubicBezTo>
                  <a:cubicBezTo>
                    <a:pt x="1243" y="2582"/>
                    <a:pt x="668" y="3044"/>
                    <a:pt x="668" y="3763"/>
                  </a:cubicBezTo>
                  <a:cubicBezTo>
                    <a:pt x="668" y="4063"/>
                    <a:pt x="801" y="4364"/>
                    <a:pt x="1035" y="4597"/>
                  </a:cubicBezTo>
                  <a:lnTo>
                    <a:pt x="1268" y="4831"/>
                  </a:lnTo>
                  <a:cubicBezTo>
                    <a:pt x="1735" y="5331"/>
                    <a:pt x="2035" y="5998"/>
                    <a:pt x="2035" y="6699"/>
                  </a:cubicBezTo>
                  <a:lnTo>
                    <a:pt x="0" y="14104"/>
                  </a:lnTo>
                  <a:cubicBezTo>
                    <a:pt x="0" y="14704"/>
                    <a:pt x="234" y="15271"/>
                    <a:pt x="668" y="15705"/>
                  </a:cubicBezTo>
                  <a:lnTo>
                    <a:pt x="4137" y="19174"/>
                  </a:lnTo>
                  <a:cubicBezTo>
                    <a:pt x="4587" y="19608"/>
                    <a:pt x="5171" y="19825"/>
                    <a:pt x="5750" y="19825"/>
                  </a:cubicBezTo>
                  <a:cubicBezTo>
                    <a:pt x="6330" y="19825"/>
                    <a:pt x="6905" y="19608"/>
                    <a:pt x="7339" y="19174"/>
                  </a:cubicBezTo>
                  <a:lnTo>
                    <a:pt x="13177" y="13337"/>
                  </a:lnTo>
                  <a:cubicBezTo>
                    <a:pt x="13410" y="13103"/>
                    <a:pt x="13510" y="12803"/>
                    <a:pt x="13510" y="12503"/>
                  </a:cubicBezTo>
                  <a:cubicBezTo>
                    <a:pt x="13510" y="11784"/>
                    <a:pt x="12935" y="11307"/>
                    <a:pt x="12335" y="11307"/>
                  </a:cubicBezTo>
                  <a:cubicBezTo>
                    <a:pt x="12044" y="11307"/>
                    <a:pt x="11748" y="11418"/>
                    <a:pt x="11509" y="11669"/>
                  </a:cubicBezTo>
                  <a:lnTo>
                    <a:pt x="12176" y="10968"/>
                  </a:lnTo>
                  <a:cubicBezTo>
                    <a:pt x="13186" y="10135"/>
                    <a:pt x="12361" y="8843"/>
                    <a:pt x="11408" y="8843"/>
                  </a:cubicBezTo>
                  <a:cubicBezTo>
                    <a:pt x="11210" y="8843"/>
                    <a:pt x="11006" y="8899"/>
                    <a:pt x="10811" y="9027"/>
                  </a:cubicBezTo>
                  <a:lnTo>
                    <a:pt x="10811" y="9027"/>
                  </a:lnTo>
                  <a:lnTo>
                    <a:pt x="10842" y="9000"/>
                  </a:lnTo>
                  <a:cubicBezTo>
                    <a:pt x="11542" y="8119"/>
                    <a:pt x="10811" y="7035"/>
                    <a:pt x="9933" y="7035"/>
                  </a:cubicBezTo>
                  <a:cubicBezTo>
                    <a:pt x="9682" y="7035"/>
                    <a:pt x="9419" y="7124"/>
                    <a:pt x="9174" y="7332"/>
                  </a:cubicBezTo>
                  <a:lnTo>
                    <a:pt x="14511" y="1962"/>
                  </a:lnTo>
                  <a:cubicBezTo>
                    <a:pt x="15239" y="1103"/>
                    <a:pt x="14486" y="1"/>
                    <a:pt x="13597" y="1"/>
                  </a:cubicBezTo>
                  <a:close/>
                </a:path>
              </a:pathLst>
            </a:custGeom>
            <a:grpFill/>
            <a:ln w="38100">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359" name="Group 358">
            <a:extLst>
              <a:ext uri="{FF2B5EF4-FFF2-40B4-BE49-F238E27FC236}">
                <a16:creationId xmlns:a16="http://schemas.microsoft.com/office/drawing/2014/main" id="{145E1DAC-7F26-552E-8C89-39DD9A95508E}"/>
              </a:ext>
            </a:extLst>
          </p:cNvPr>
          <p:cNvGrpSpPr/>
          <p:nvPr/>
        </p:nvGrpSpPr>
        <p:grpSpPr>
          <a:xfrm rot="16200000" flipV="1">
            <a:off x="10788117" y="5699425"/>
            <a:ext cx="1729654" cy="848268"/>
            <a:chOff x="233739" y="283295"/>
            <a:chExt cx="1729654" cy="848268"/>
          </a:xfrm>
          <a:gradFill>
            <a:gsLst>
              <a:gs pos="0">
                <a:srgbClr val="D8D9D8"/>
              </a:gs>
              <a:gs pos="100000">
                <a:srgbClr val="000000">
                  <a:alpha val="0"/>
                </a:srgbClr>
              </a:gs>
            </a:gsLst>
            <a:lin ang="0" scaled="1"/>
          </a:gradFill>
        </p:grpSpPr>
        <p:grpSp>
          <p:nvGrpSpPr>
            <p:cNvPr id="360" name="Group 359">
              <a:extLst>
                <a:ext uri="{FF2B5EF4-FFF2-40B4-BE49-F238E27FC236}">
                  <a16:creationId xmlns:a16="http://schemas.microsoft.com/office/drawing/2014/main" id="{5CB3CDCB-FC87-BACC-4649-231CCE1A10D4}"/>
                </a:ext>
              </a:extLst>
            </p:cNvPr>
            <p:cNvGrpSpPr/>
            <p:nvPr/>
          </p:nvGrpSpPr>
          <p:grpSpPr>
            <a:xfrm rot="5400000">
              <a:off x="1055270" y="-538236"/>
              <a:ext cx="86591" cy="1729654"/>
              <a:chOff x="85292" y="59892"/>
              <a:chExt cx="86591" cy="1729654"/>
            </a:xfrm>
            <a:grpFill/>
          </p:grpSpPr>
          <p:sp>
            <p:nvSpPr>
              <p:cNvPr id="394" name="Oval 393">
                <a:extLst>
                  <a:ext uri="{FF2B5EF4-FFF2-40B4-BE49-F238E27FC236}">
                    <a16:creationId xmlns:a16="http://schemas.microsoft.com/office/drawing/2014/main" id="{995F6BC5-62A0-7CCB-5AEA-15BC85574840}"/>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5" name="Oval 394">
                <a:extLst>
                  <a:ext uri="{FF2B5EF4-FFF2-40B4-BE49-F238E27FC236}">
                    <a16:creationId xmlns:a16="http://schemas.microsoft.com/office/drawing/2014/main" id="{D853D885-88AF-FF48-4399-D28ADB8F0F6F}"/>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6" name="Oval 395">
                <a:extLst>
                  <a:ext uri="{FF2B5EF4-FFF2-40B4-BE49-F238E27FC236}">
                    <a16:creationId xmlns:a16="http://schemas.microsoft.com/office/drawing/2014/main" id="{B0AEF8AC-0A9B-9EF5-3E1B-E42365924960}"/>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7" name="Oval 396">
                <a:extLst>
                  <a:ext uri="{FF2B5EF4-FFF2-40B4-BE49-F238E27FC236}">
                    <a16:creationId xmlns:a16="http://schemas.microsoft.com/office/drawing/2014/main" id="{DA633E99-D2D3-5C79-9244-4F9E8BC2C5D7}"/>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8" name="Oval 397">
                <a:extLst>
                  <a:ext uri="{FF2B5EF4-FFF2-40B4-BE49-F238E27FC236}">
                    <a16:creationId xmlns:a16="http://schemas.microsoft.com/office/drawing/2014/main" id="{BC6145B8-BD5F-A267-58C0-B55E1A4C8A1A}"/>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9" name="Oval 398">
                <a:extLst>
                  <a:ext uri="{FF2B5EF4-FFF2-40B4-BE49-F238E27FC236}">
                    <a16:creationId xmlns:a16="http://schemas.microsoft.com/office/drawing/2014/main" id="{297FE462-6309-AB4B-DB75-4B058AF7CDC9}"/>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0" name="Oval 399">
                <a:extLst>
                  <a:ext uri="{FF2B5EF4-FFF2-40B4-BE49-F238E27FC236}">
                    <a16:creationId xmlns:a16="http://schemas.microsoft.com/office/drawing/2014/main" id="{93A7BD51-0B74-8FE3-0AC5-57F9E3C8FC4A}"/>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1" name="Oval 400">
                <a:extLst>
                  <a:ext uri="{FF2B5EF4-FFF2-40B4-BE49-F238E27FC236}">
                    <a16:creationId xmlns:a16="http://schemas.microsoft.com/office/drawing/2014/main" id="{0DB7A513-478C-870B-43B2-14A8B58886CE}"/>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2" name="Oval 401">
                <a:extLst>
                  <a:ext uri="{FF2B5EF4-FFF2-40B4-BE49-F238E27FC236}">
                    <a16:creationId xmlns:a16="http://schemas.microsoft.com/office/drawing/2014/main" id="{0F702ECE-320E-6FBB-1892-FA9462817585}"/>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3" name="Oval 402">
                <a:extLst>
                  <a:ext uri="{FF2B5EF4-FFF2-40B4-BE49-F238E27FC236}">
                    <a16:creationId xmlns:a16="http://schemas.microsoft.com/office/drawing/2014/main" id="{B6F746D3-068D-DA5A-ACCD-6CB76476E0F7}"/>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61" name="Group 360">
              <a:extLst>
                <a:ext uri="{FF2B5EF4-FFF2-40B4-BE49-F238E27FC236}">
                  <a16:creationId xmlns:a16="http://schemas.microsoft.com/office/drawing/2014/main" id="{63BA18B4-A024-2E59-5897-22CABD7FB0D0}"/>
                </a:ext>
              </a:extLst>
            </p:cNvPr>
            <p:cNvGrpSpPr/>
            <p:nvPr/>
          </p:nvGrpSpPr>
          <p:grpSpPr>
            <a:xfrm rot="5400000">
              <a:off x="1055270" y="-284344"/>
              <a:ext cx="86591" cy="1729654"/>
              <a:chOff x="85292" y="59892"/>
              <a:chExt cx="86591" cy="1729654"/>
            </a:xfrm>
            <a:grpFill/>
          </p:grpSpPr>
          <p:sp>
            <p:nvSpPr>
              <p:cNvPr id="384" name="Oval 383">
                <a:extLst>
                  <a:ext uri="{FF2B5EF4-FFF2-40B4-BE49-F238E27FC236}">
                    <a16:creationId xmlns:a16="http://schemas.microsoft.com/office/drawing/2014/main" id="{E58480BB-EAAD-04CF-2381-A881022D3919}"/>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5" name="Oval 384">
                <a:extLst>
                  <a:ext uri="{FF2B5EF4-FFF2-40B4-BE49-F238E27FC236}">
                    <a16:creationId xmlns:a16="http://schemas.microsoft.com/office/drawing/2014/main" id="{57CD3E37-0237-5A30-9339-F8F5E74EAB23}"/>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6" name="Oval 385">
                <a:extLst>
                  <a:ext uri="{FF2B5EF4-FFF2-40B4-BE49-F238E27FC236}">
                    <a16:creationId xmlns:a16="http://schemas.microsoft.com/office/drawing/2014/main" id="{1613384C-13C7-E601-AE60-2D355AC8AA6E}"/>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7" name="Oval 386">
                <a:extLst>
                  <a:ext uri="{FF2B5EF4-FFF2-40B4-BE49-F238E27FC236}">
                    <a16:creationId xmlns:a16="http://schemas.microsoft.com/office/drawing/2014/main" id="{BF205CF8-5A98-62CA-18CE-F417E8E82EC4}"/>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8" name="Oval 387">
                <a:extLst>
                  <a:ext uri="{FF2B5EF4-FFF2-40B4-BE49-F238E27FC236}">
                    <a16:creationId xmlns:a16="http://schemas.microsoft.com/office/drawing/2014/main" id="{6A731567-BBFE-F1B0-E4C0-A0A4A22D63A7}"/>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9" name="Oval 388">
                <a:extLst>
                  <a:ext uri="{FF2B5EF4-FFF2-40B4-BE49-F238E27FC236}">
                    <a16:creationId xmlns:a16="http://schemas.microsoft.com/office/drawing/2014/main" id="{2B99925C-64F9-97E3-039F-27D932EC90DB}"/>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0" name="Oval 389">
                <a:extLst>
                  <a:ext uri="{FF2B5EF4-FFF2-40B4-BE49-F238E27FC236}">
                    <a16:creationId xmlns:a16="http://schemas.microsoft.com/office/drawing/2014/main" id="{323C2102-D867-03BC-CFF1-516235B3B950}"/>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1" name="Oval 390">
                <a:extLst>
                  <a:ext uri="{FF2B5EF4-FFF2-40B4-BE49-F238E27FC236}">
                    <a16:creationId xmlns:a16="http://schemas.microsoft.com/office/drawing/2014/main" id="{C38D541C-F82A-8A92-5F66-DE7FF90CB9EF}"/>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2" name="Oval 391">
                <a:extLst>
                  <a:ext uri="{FF2B5EF4-FFF2-40B4-BE49-F238E27FC236}">
                    <a16:creationId xmlns:a16="http://schemas.microsoft.com/office/drawing/2014/main" id="{442C038B-3DDD-1441-926D-99C9EB131540}"/>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3" name="Oval 392">
                <a:extLst>
                  <a:ext uri="{FF2B5EF4-FFF2-40B4-BE49-F238E27FC236}">
                    <a16:creationId xmlns:a16="http://schemas.microsoft.com/office/drawing/2014/main" id="{DAA51376-2655-844D-8673-213431BE805E}"/>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62" name="Group 361">
              <a:extLst>
                <a:ext uri="{FF2B5EF4-FFF2-40B4-BE49-F238E27FC236}">
                  <a16:creationId xmlns:a16="http://schemas.microsoft.com/office/drawing/2014/main" id="{A541A946-5EDE-410D-05C0-57398E496A0F}"/>
                </a:ext>
              </a:extLst>
            </p:cNvPr>
            <p:cNvGrpSpPr/>
            <p:nvPr/>
          </p:nvGrpSpPr>
          <p:grpSpPr>
            <a:xfrm rot="5400000">
              <a:off x="1055270" y="-30452"/>
              <a:ext cx="86591" cy="1729654"/>
              <a:chOff x="85292" y="59892"/>
              <a:chExt cx="86591" cy="1729654"/>
            </a:xfrm>
            <a:grpFill/>
          </p:grpSpPr>
          <p:sp>
            <p:nvSpPr>
              <p:cNvPr id="374" name="Oval 373">
                <a:extLst>
                  <a:ext uri="{FF2B5EF4-FFF2-40B4-BE49-F238E27FC236}">
                    <a16:creationId xmlns:a16="http://schemas.microsoft.com/office/drawing/2014/main" id="{1D41D18C-759D-6EE3-A946-B2ADB70B516E}"/>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5" name="Oval 374">
                <a:extLst>
                  <a:ext uri="{FF2B5EF4-FFF2-40B4-BE49-F238E27FC236}">
                    <a16:creationId xmlns:a16="http://schemas.microsoft.com/office/drawing/2014/main" id="{866CBB53-1F0D-64D4-B621-89AB0518BA0C}"/>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6" name="Oval 375">
                <a:extLst>
                  <a:ext uri="{FF2B5EF4-FFF2-40B4-BE49-F238E27FC236}">
                    <a16:creationId xmlns:a16="http://schemas.microsoft.com/office/drawing/2014/main" id="{413FF8A2-DBB6-D7EA-825E-11C7155F080E}"/>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7" name="Oval 376">
                <a:extLst>
                  <a:ext uri="{FF2B5EF4-FFF2-40B4-BE49-F238E27FC236}">
                    <a16:creationId xmlns:a16="http://schemas.microsoft.com/office/drawing/2014/main" id="{AF8C6596-2D87-3CA3-4E03-A84035B066FF}"/>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8" name="Oval 377">
                <a:extLst>
                  <a:ext uri="{FF2B5EF4-FFF2-40B4-BE49-F238E27FC236}">
                    <a16:creationId xmlns:a16="http://schemas.microsoft.com/office/drawing/2014/main" id="{B54DA9C1-CC8A-3B7C-4505-EFFAADA6681B}"/>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9" name="Oval 378">
                <a:extLst>
                  <a:ext uri="{FF2B5EF4-FFF2-40B4-BE49-F238E27FC236}">
                    <a16:creationId xmlns:a16="http://schemas.microsoft.com/office/drawing/2014/main" id="{2C85181A-122D-E436-6C5C-B83F9D4EC99D}"/>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0" name="Oval 379">
                <a:extLst>
                  <a:ext uri="{FF2B5EF4-FFF2-40B4-BE49-F238E27FC236}">
                    <a16:creationId xmlns:a16="http://schemas.microsoft.com/office/drawing/2014/main" id="{EECE70E2-0628-9633-B6DE-60FC78CA5008}"/>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1" name="Oval 380">
                <a:extLst>
                  <a:ext uri="{FF2B5EF4-FFF2-40B4-BE49-F238E27FC236}">
                    <a16:creationId xmlns:a16="http://schemas.microsoft.com/office/drawing/2014/main" id="{E11153B5-0A74-41AA-58A6-B553A231A895}"/>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2" name="Oval 381">
                <a:extLst>
                  <a:ext uri="{FF2B5EF4-FFF2-40B4-BE49-F238E27FC236}">
                    <a16:creationId xmlns:a16="http://schemas.microsoft.com/office/drawing/2014/main" id="{1A410DE0-D29D-FA8D-B264-EC2714AFB96B}"/>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83" name="Oval 382">
                <a:extLst>
                  <a:ext uri="{FF2B5EF4-FFF2-40B4-BE49-F238E27FC236}">
                    <a16:creationId xmlns:a16="http://schemas.microsoft.com/office/drawing/2014/main" id="{A68E5304-E887-E9C3-65B9-C8ED02AA4E96}"/>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363" name="Group 362">
              <a:extLst>
                <a:ext uri="{FF2B5EF4-FFF2-40B4-BE49-F238E27FC236}">
                  <a16:creationId xmlns:a16="http://schemas.microsoft.com/office/drawing/2014/main" id="{E52CDEB7-A797-F866-895C-F7DD199482A8}"/>
                </a:ext>
              </a:extLst>
            </p:cNvPr>
            <p:cNvGrpSpPr/>
            <p:nvPr/>
          </p:nvGrpSpPr>
          <p:grpSpPr>
            <a:xfrm rot="5400000">
              <a:off x="1055270" y="223441"/>
              <a:ext cx="86591" cy="1729654"/>
              <a:chOff x="85292" y="59892"/>
              <a:chExt cx="86591" cy="1729654"/>
            </a:xfrm>
            <a:grpFill/>
          </p:grpSpPr>
          <p:sp>
            <p:nvSpPr>
              <p:cNvPr id="364" name="Oval 363">
                <a:extLst>
                  <a:ext uri="{FF2B5EF4-FFF2-40B4-BE49-F238E27FC236}">
                    <a16:creationId xmlns:a16="http://schemas.microsoft.com/office/drawing/2014/main" id="{A769B72F-9E6C-225A-147D-F31C2D5CCE42}"/>
                  </a:ext>
                </a:extLst>
              </p:cNvPr>
              <p:cNvSpPr/>
              <p:nvPr/>
            </p:nvSpPr>
            <p:spPr>
              <a:xfrm>
                <a:off x="85292" y="59892"/>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5" name="Oval 364">
                <a:extLst>
                  <a:ext uri="{FF2B5EF4-FFF2-40B4-BE49-F238E27FC236}">
                    <a16:creationId xmlns:a16="http://schemas.microsoft.com/office/drawing/2014/main" id="{E9C6CA4A-2E32-B997-7C5E-1FC17A05D6AD}"/>
                  </a:ext>
                </a:extLst>
              </p:cNvPr>
              <p:cNvSpPr/>
              <p:nvPr/>
            </p:nvSpPr>
            <p:spPr>
              <a:xfrm>
                <a:off x="85292" y="2424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6" name="Oval 365">
                <a:extLst>
                  <a:ext uri="{FF2B5EF4-FFF2-40B4-BE49-F238E27FC236}">
                    <a16:creationId xmlns:a16="http://schemas.microsoft.com/office/drawing/2014/main" id="{565DB45A-1A52-38B8-0126-D860A00BA30B}"/>
                  </a:ext>
                </a:extLst>
              </p:cNvPr>
              <p:cNvSpPr/>
              <p:nvPr/>
            </p:nvSpPr>
            <p:spPr>
              <a:xfrm>
                <a:off x="85292" y="425018"/>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7" name="Oval 366">
                <a:extLst>
                  <a:ext uri="{FF2B5EF4-FFF2-40B4-BE49-F238E27FC236}">
                    <a16:creationId xmlns:a16="http://schemas.microsoft.com/office/drawing/2014/main" id="{9CFA98E5-ECA7-95AF-B186-760E9EAC28B5}"/>
                  </a:ext>
                </a:extLst>
              </p:cNvPr>
              <p:cNvSpPr/>
              <p:nvPr/>
            </p:nvSpPr>
            <p:spPr>
              <a:xfrm>
                <a:off x="85292" y="607581"/>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8" name="Oval 367">
                <a:extLst>
                  <a:ext uri="{FF2B5EF4-FFF2-40B4-BE49-F238E27FC236}">
                    <a16:creationId xmlns:a16="http://schemas.microsoft.com/office/drawing/2014/main" id="{3D78C93A-52FD-F919-4318-837187DBC420}"/>
                  </a:ext>
                </a:extLst>
              </p:cNvPr>
              <p:cNvSpPr/>
              <p:nvPr/>
            </p:nvSpPr>
            <p:spPr>
              <a:xfrm>
                <a:off x="85292" y="790144"/>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9" name="Oval 368">
                <a:extLst>
                  <a:ext uri="{FF2B5EF4-FFF2-40B4-BE49-F238E27FC236}">
                    <a16:creationId xmlns:a16="http://schemas.microsoft.com/office/drawing/2014/main" id="{2916FCDC-6D97-91AB-1A57-2919C0A85C56}"/>
                  </a:ext>
                </a:extLst>
              </p:cNvPr>
              <p:cNvSpPr/>
              <p:nvPr/>
            </p:nvSpPr>
            <p:spPr>
              <a:xfrm>
                <a:off x="85292" y="972707"/>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0" name="Oval 369">
                <a:extLst>
                  <a:ext uri="{FF2B5EF4-FFF2-40B4-BE49-F238E27FC236}">
                    <a16:creationId xmlns:a16="http://schemas.microsoft.com/office/drawing/2014/main" id="{DA43402E-CEF5-DF55-AE52-1A5D159FB348}"/>
                  </a:ext>
                </a:extLst>
              </p:cNvPr>
              <p:cNvSpPr/>
              <p:nvPr/>
            </p:nvSpPr>
            <p:spPr>
              <a:xfrm>
                <a:off x="85292" y="1155270"/>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1" name="Oval 370">
                <a:extLst>
                  <a:ext uri="{FF2B5EF4-FFF2-40B4-BE49-F238E27FC236}">
                    <a16:creationId xmlns:a16="http://schemas.microsoft.com/office/drawing/2014/main" id="{4F264261-4047-85F2-1E4F-CD622BFF1289}"/>
                  </a:ext>
                </a:extLst>
              </p:cNvPr>
              <p:cNvSpPr/>
              <p:nvPr/>
            </p:nvSpPr>
            <p:spPr>
              <a:xfrm>
                <a:off x="85292" y="1337833"/>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2" name="Oval 371">
                <a:extLst>
                  <a:ext uri="{FF2B5EF4-FFF2-40B4-BE49-F238E27FC236}">
                    <a16:creationId xmlns:a16="http://schemas.microsoft.com/office/drawing/2014/main" id="{DE1A9AC9-7511-2BB7-AF9D-860FFC9AAA26}"/>
                  </a:ext>
                </a:extLst>
              </p:cNvPr>
              <p:cNvSpPr/>
              <p:nvPr/>
            </p:nvSpPr>
            <p:spPr>
              <a:xfrm>
                <a:off x="85292" y="1520396"/>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3" name="Oval 372">
                <a:extLst>
                  <a:ext uri="{FF2B5EF4-FFF2-40B4-BE49-F238E27FC236}">
                    <a16:creationId xmlns:a16="http://schemas.microsoft.com/office/drawing/2014/main" id="{C6088360-F5C8-554C-634E-B066A926FD43}"/>
                  </a:ext>
                </a:extLst>
              </p:cNvPr>
              <p:cNvSpPr/>
              <p:nvPr/>
            </p:nvSpPr>
            <p:spPr>
              <a:xfrm>
                <a:off x="85292" y="1702955"/>
                <a:ext cx="86591" cy="86591"/>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12492760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E48E1-164E-CBD2-3D5C-9472BD41E6F4}"/>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988979D3-3FC2-465E-4D9F-2F167763669B}"/>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1BF265C7-32C7-9B20-5423-57C619632D6F}"/>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5627111-BE98-B639-4DBD-673B92B251F4}"/>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E84E3FC1-90B5-DE3F-5F15-D4CAAB95D530}"/>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D41459-4F2B-4546-7068-A197701633C9}"/>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4F870848-5370-38A3-D3E5-5944ADED4943}"/>
              </a:ext>
            </a:extLst>
          </p:cNvPr>
          <p:cNvSpPr txBox="1"/>
          <p:nvPr/>
        </p:nvSpPr>
        <p:spPr>
          <a:xfrm>
            <a:off x="4143865" y="4871691"/>
            <a:ext cx="8817134" cy="1569660"/>
          </a:xfrm>
          <a:prstGeom prst="rect">
            <a:avLst/>
          </a:prstGeom>
          <a:noFill/>
        </p:spPr>
        <p:txBody>
          <a:bodyPr wrap="square">
            <a:spAutoFit/>
          </a:bodyPr>
          <a:lstStyle/>
          <a:p>
            <a:pPr algn="l"/>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Baum-Welch Algorithm Challenges</a:t>
            </a:r>
            <a:endParaRPr lang="en-US" sz="4800"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endParaRPr>
          </a:p>
        </p:txBody>
      </p:sp>
      <p:sp>
        <p:nvSpPr>
          <p:cNvPr id="25" name="Freeform: Shape 24">
            <a:extLst>
              <a:ext uri="{FF2B5EF4-FFF2-40B4-BE49-F238E27FC236}">
                <a16:creationId xmlns:a16="http://schemas.microsoft.com/office/drawing/2014/main" id="{713F7995-1056-DC0E-F789-DC20CE69D06D}"/>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AF68FFE9-8167-AFE3-6A11-E359A27D7178}"/>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7C3CF5C9-6920-D9C5-860F-6E310A2BEFAD}"/>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6290620B-9BF9-368A-0A76-F507EB1A07B0}"/>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6AAF03-A387-0D3D-6E46-49ECAD9A90DE}"/>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15F2495-C47B-4DCB-8F93-BFF9DC2A150F}"/>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4</a:t>
            </a:r>
          </a:p>
        </p:txBody>
      </p:sp>
      <p:grpSp>
        <p:nvGrpSpPr>
          <p:cNvPr id="170" name="Group 169">
            <a:extLst>
              <a:ext uri="{FF2B5EF4-FFF2-40B4-BE49-F238E27FC236}">
                <a16:creationId xmlns:a16="http://schemas.microsoft.com/office/drawing/2014/main" id="{BA8918A2-2706-E444-BDC1-8AAE652A4F2D}"/>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36905019-93AB-B914-28E4-1F42FD338C34}"/>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1EC808C4-2A84-B14F-154E-C026DA98F03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4077FD34-50B6-89FF-2939-A888C2BBFBE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619BF00C-C16D-6E50-20E7-852F837756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C768CB93-C5BF-26DE-5559-DAAF15498D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4C4D0E99-58FE-424A-2F22-4522CE9849B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C2CA335B-F84A-9E15-B1DF-1C962BD83C8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2A27C52D-3AD9-CE08-F6BC-0B60CF001AD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2D3B6CA5-B53D-D127-CC26-5DFB02E23A3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E6E9E64D-414B-B407-D12D-CFFCDB70576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265EA8D5-BCAD-3CFE-ADEC-AED297CCF6B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5F61CEEF-F939-3032-5380-576ABAE21F42}"/>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47DB7AC1-3BA6-C375-7220-C9F565AF146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CE42E6E7-68A6-A3D7-154A-CD299C59B4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BB578FEF-20CA-62F9-0E34-42A1FD6C162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6DDC4DD4-F6FE-9213-E87B-88C2D2F9C50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3505394D-70E8-7B88-0B74-450C3E59A7A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ADFDFEA6-FA06-CE4E-6DFB-F86CA1FC4D4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B1F9868E-6976-D2B8-7B15-C49FF1B5392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0770760D-7585-FFF8-426A-2F3B146AF13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16461D7C-8340-DE04-5FA7-E19A70FE725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D0BF337E-1D7A-598B-8E01-7BBEA4C6E2B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979FFC77-1A25-D32F-E234-7DC3F006366A}"/>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8BD4B245-02C3-2281-6423-EF8BE2B4868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C2F9CCF0-7B6B-FFB1-02DB-41309767F00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515F67D8-F68F-D0F2-1A89-4DA6452C13F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F6F1CA50-B334-BFC4-69FF-AFD67E1AEB6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6BEB315E-866F-1426-4FAE-CEA8976C6B4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86481DDE-C0F7-FAAF-58D1-B18FED836BD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85698CC6-846A-4AA5-2A16-3932B1AC98E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2724D32C-E547-E189-7E50-E8299942809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94AC5CB7-60AF-6FB6-60DC-519A1D8A770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FAD345E9-5267-B446-6332-12D94C7991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ADA86D51-63E7-2A15-BC01-E8C64246BA58}"/>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6DBB6C67-0CBF-58AB-124B-33FB859AD49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019C24D3-A9FB-7A3D-FBF9-CC85C27CCC4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9F61B0B3-ABFE-0B47-2C6C-4ABE04FF5D6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B5FA37B0-BF00-30CB-1B65-25CA8806EE4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464CE5D6-1FBF-B2F6-6A63-7FFE5BBAF13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6B8BF5EC-CEEB-3221-F022-4B84EC82EC0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8BDFAD69-8135-99A7-A1AC-B162C63183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C0032B7F-1938-779F-58DA-41F923D6A69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574605D6-A8AB-96F5-4711-0EC8553BDE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DF18A58B-1BD6-6A9C-144A-DB7EAD19B97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2043AAA1-1C2D-11B2-E775-991FDC198B3B}"/>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6B83BF78-A715-6AC7-97F3-26A8FAA182F1}"/>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81C91374-2382-85F6-1650-2DE925AD577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93B52937-C5CE-083A-1B8C-4FE86031682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4A5A0F08-2543-A20C-AB04-BDF78E6D135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5949A632-4995-87F0-BD23-67EDEC1030A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5BB8A486-15AA-D884-C344-4F5945DCE96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1B030896-B214-4D2C-07E8-C93345FC7A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7F077CC2-4140-358C-BE5F-C6C2AF1CF90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0ECCF95A-192F-F29B-1503-CDFCAB1CD8C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82C563E3-645C-BF61-F3B3-74D1B9F9848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7D4C033D-4B1A-A3A2-AB7E-EA2CD0B124E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44156DAC-E3A6-0B29-97C7-FB34375FE8B8}"/>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9FE8ACEA-03F1-3B70-DA90-1F03B9B1215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1003EAF8-D811-62E0-C185-B831365FEC3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E8FB2EE3-5462-6442-D6DF-9CC33F55DDE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6212D674-2883-3DB9-A7F8-9BC49FA7CE8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82F27B12-25BD-1290-526F-3CE9171EB34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AF695F66-E3CC-4BB7-AAB2-239FB81E258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D5E5E916-E19A-00C1-9103-38169FA7E8C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1E7EEB79-FBB0-94B8-EFDF-96D4F254CDB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D3AEEF59-7A40-8691-3B38-F736825234A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2D3F07C7-BFBD-EC00-F835-3337C42BF7A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41122A3B-4D20-5434-F9AD-720EFB4C4185}"/>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75ABEA15-DB6E-3E1B-80D0-E91A5098311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92F67EF7-A737-D861-3117-C7EF1CFAF7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9EE3CDE8-FDA2-554D-A8AD-52881803F46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8C55A2F9-1135-D6FB-37DF-514B2CFA0AE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E4D930D9-C151-9589-E9E0-417576B447E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C9C2ACFF-FB22-D252-7276-8268E37CBB3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87653E9F-34BE-18BD-C211-2673895E8C7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7F20EC79-0B36-D92A-878C-5F1029F870E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A75D1FFD-21A8-F942-9693-020E0DC7C5E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A86AA6F6-5BD3-E724-D284-9B7EC3BC57B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E835FCE3-296F-F761-E3A9-2B76522C69E2}"/>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917F2257-27C7-CF67-0408-C9747F93D9B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AE269695-03FD-2410-262F-04278A53D34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30A56D81-9718-98D4-753B-3B35C256561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D609AF04-1DCC-4D93-2463-662AEA81002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899E8F23-7810-D71C-6702-854AF225F1D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BBB7DD9E-BB31-B57C-BE39-48D33D3ECFA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C780A46E-764B-5388-8097-FE7885EDC65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4F8C0C93-47C7-836D-2244-79A9482E911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8A593855-E911-4636-A769-DA02E8D1F12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D6241B0D-A4C5-08A2-8C7D-E71AD1360AB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FAC47CE7-B849-ADE2-84AE-92245ACF43A2}"/>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7E8E1BA-3D15-747D-665B-96D57B485E64}"/>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AE86F714-CE11-B41D-2721-3B7EB04A772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59B04D89-163D-DF33-F13A-359781B6839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47B7A5B3-C7B5-2E8A-AF25-958B3E903D6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685F6CC1-B50A-6E20-6CE5-8ABD600F6AC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1476B289-A4BE-F9D0-EB29-B454A60304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C3E09762-C588-0136-EED0-617CDF2A20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EA384028-6C88-8951-45A7-105B536F95B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4487706B-5FC9-DA0C-0459-92F953DF9CD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5878F48F-0FAE-8254-8D78-8ED53A24FB2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7B917822-1D4C-C3A5-C524-8EA1197FF37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8644D75F-4565-F0C1-8DFF-01A03E75CF3C}"/>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5F01535A-4F08-EF59-CD4B-467243BF9D2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D91238F4-4611-BA5A-0E16-8039002EB4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AF7FD2CA-3DEF-57E4-DF29-E672298E9AA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9E184FD7-32F5-125E-18C3-5A68E27A896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3A0FDC13-6FDC-93A4-E400-59561B23B4B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27AED70F-7742-D580-1A4F-3DED6EF4472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78FF60F5-8E02-43D1-6453-713D95A763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4E468F1A-77D7-531D-B854-1AC5B8860DC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B5382A23-55FA-F439-3DA5-7E0BAF7E523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BCD88F34-79C7-BBBA-79F9-B3C742967C1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CDD0CEBE-E04B-4E21-6EA7-E1B79E84B0CA}"/>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E39A86D8-8F3F-978F-AA6B-59CD1D5C0D1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FB51FA5C-AEB8-73A5-8A8F-3D7A80B466C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0375F3E0-71E0-7C86-58B9-7FF3F009725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9B866890-E0FE-94C4-83B1-8127F8FB53B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511AAC76-BC83-7CB2-061A-C646B71385B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E764978C-47EC-AFC9-98A7-01699F80B63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08B55EF2-12BE-73DB-6864-9655116E930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53D02509-4C3E-2DE5-D271-D404CA3C93D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3A0C6E45-79DB-D9C5-3B50-E3BA6523A36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96F8121A-DF93-A3E7-EA11-F06503242D9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C23C7229-CACD-9559-DA54-48E271F99902}"/>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1D93FF13-E5C8-184E-36A0-66A3BEE74C2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2ACA309F-65E5-CBAB-557B-B343EFE5376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E2BD623E-DC45-906F-77CE-762AC68F0D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81BF2196-800B-5D20-DBD1-F6D7349DEDF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D76937EB-F4FA-5962-E8DB-DDB4CF6B299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B7C6C27B-344C-7A30-B248-6E5D188DB25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BB6A6452-FD89-4B23-D554-874F196E65C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AE7B292C-9567-5F8A-AC1E-4D66A5D7B73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0ECC52F3-E417-E42C-E079-C4B8A94DF5A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1CAAC7C1-1D66-A72C-961A-0488043D023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EC6BBAA8-279C-7365-4F7F-6735F575DC9D}"/>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36B664DB-A3E8-E9C9-94AA-0BE530AC4347}"/>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EAB2CB64-C828-634B-2EC1-393A2691DD8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CEFED3FC-9CA2-813F-5A22-B283707FED0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3FFAAD45-3F8D-4FC2-FE18-71139257118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A3202859-54F4-FF62-3696-A26CFC4B1BA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09391C98-074D-7DEA-FAE5-CE440E9F0F6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2A53F65A-C78E-DDA2-182D-C6E422E69D9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C8B46898-8F86-9FD3-9DDD-4301E2A3605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55942777-8727-7ACA-9E2D-3FF91AD570A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0C24166B-980E-850D-59BB-176EFB03B89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0A18C3BC-0846-1835-C295-9E34FC3EF2F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5C42F5A4-85E3-68C5-76EF-A3EDBF9EA5D8}"/>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6B6218CA-0204-0E27-F673-F76FD912BE9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38F04F0C-69A8-F4C5-F6CE-4BFEDA9231F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B77E7C73-6B02-5269-2162-C4E0B93B7F9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1E06B036-6DF9-F14C-0001-7EFC9882B79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B8CCF7CA-0E57-928F-475E-4CEF55A892A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D4969C09-E2E7-10C3-AC03-D4B24646FA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E9FFB464-8016-1D96-3CBD-56267B436F9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6CB95A50-E382-FEAF-FD65-1029549656F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37DA1FE6-CE1D-66B0-2F40-BCC6866481E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7B7C2EC8-7F79-C305-E657-F5B68C322E7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AEE48F7C-DAB6-4C50-EEB6-B6304A24C9CE}"/>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B8C9F9CD-6A91-B0FA-6D32-01B3C253C7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7DA0BD06-C8BE-E6BC-D475-3F7587F9CAE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2EAB0679-163C-BD2E-1A50-4FC7BF4203E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34FDD5BB-4514-8737-ABD8-4D3A2E0B6AA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F72D10E1-9533-46B6-EEC8-2CDF4B9FC4B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C3B01E0E-20F8-5FD3-9B3A-D46533D501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F749832D-4391-C13F-3C35-2DA4D7274C0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AB275F9A-1282-D64E-FCD7-B20AEBBE7C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ED0B7426-D872-DFC6-DA37-14C932CA111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13E5BCA6-D65C-1EA4-40E1-A27DB691B72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BF288DF6-350F-9A9F-DEA9-819F9F87462F}"/>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42479FFB-0703-EFAB-BE84-6ECEAD9919A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BEAEC6B-F3A5-CA97-1A11-19E62AAF41E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821E2AAF-5FC8-6DE0-0FE7-30BFE09EFBA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9A30D6DF-8FC8-87EE-36F6-639DBB962A8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C3FBDE5C-208B-CAD4-54AB-7EF81ED08CD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36833346-1F77-1F55-67A2-66F5943E6A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59BC05E9-0A20-4421-2AF8-882528AA0F9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2475F0AD-9E2C-2672-B351-AFA2351B73C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76D449C1-3E0E-1EEB-F559-40F1626321D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B9B8F625-7D88-1859-A3CD-C508D55DE0E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0D618AF8-0B5C-C7DB-FC14-3A68023F5EA7}"/>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AF6FA813-B6EE-31A1-E009-E1896AC5B5B8}"/>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09B0A44F-29FF-1051-9D63-BD3B65730024}"/>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04C99A1D-EF09-E843-730D-946B3F1ABAD1}"/>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9DA82383-40A4-09D8-3E93-1D861E2C2FB9}"/>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E0C907D1-977C-468D-CB5C-9A8DFF1E6ED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C1D45F4B-1420-7DA2-A84E-10B959FD7D3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AE54202F-E750-51DA-E7E6-57C62C44185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1EB0C003-7FF4-5BB5-2984-6832362E358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4652B0A0-67C1-DC8E-A072-25DF7140F12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07904C5D-92B5-F1B6-C98F-751822CDBE7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778E0EFC-C4E8-836A-8081-EDF6AEAE597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D61383C0-4DCB-ACA6-E698-FC8016D9B66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EE227309-CB59-0F5A-BF9C-F57C9B77D4B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883633A1-6FDC-F378-1671-A84682515EC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406B00CC-F9F6-7BD6-099E-D985609FDB23}"/>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5A7FADFA-61BF-C4F2-72B5-4B10B14678A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86A76063-C9FA-E0F2-8766-8D28C0B7ACF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13BCCC0E-68E4-DBD0-1318-F00F3C442CD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EFDA9420-E225-9989-1350-92156D7FDEF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94C17F2C-BC69-EC45-6F4F-F10540D2CC1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28E9CEE4-E444-CAE8-DF7A-CB36B5E3925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2828BD82-250F-B777-84CF-B2EC11B717A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51A34A04-B0F5-2F9B-661F-40C2C170C1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7A71F7DE-8F90-505A-EBCA-820CDFD5C99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517212F5-AFE5-60AF-E323-ADF055E1B5A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D96AED57-012F-8AFE-31BA-4DA65E06602E}"/>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15D08797-920F-905E-E0D1-1E3B67E724E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9D3F08D7-D6D6-5166-AB68-0D3FB2685DA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4193A807-0AA9-E152-FCCE-8D4E75EBAC9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0BEA1367-81A6-5904-989F-4FB2C5A57C6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55C7C75B-D776-50AE-6A99-8717BAF030E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8528CC4C-E0A2-9397-0E71-C96F4E7DA03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AF71649A-FA25-5437-A59C-10C610F4B32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ADC87546-CE20-0D9D-8770-A724CB2882F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A9172D05-BE15-C1F5-A363-8A4593BF8F3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91D5F37B-A702-0716-0DA0-F054A7CFAE0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55AD384E-1695-BA96-0D73-85911D65AB9C}"/>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EDDD03E9-6426-C342-172C-D550BBA3324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BECCB386-E247-98C2-66AB-2CE3AEB6E2A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A36F20C9-B1E8-1305-4B5E-E4DF74C041D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C287ABD2-D5CF-0CDB-3897-E495FECA5C7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0698BD62-94BE-2790-D208-B4CA1C2DE0F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21F2A047-B8AA-2BD8-568F-962EDAA421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86A21C61-1B04-869A-2193-11B203573C7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E55E1AB5-F673-4B45-1579-74D1680FBB6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FA529980-3F1D-AEF1-CC94-EC3AAC887CD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B89B91F1-861F-96FD-7783-E15A3245989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01800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19E69-C9CB-167B-96ED-27B82AB2E453}"/>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5ACC4977-AD31-F12E-7621-24D3CD39C2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0743D707-00AD-3639-D152-F15DFF2E88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A72909F7-C96C-5EC9-55AE-31C77ED14F8F}"/>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9EEA74E-4A63-6020-7943-4FD7D2A1B3C9}"/>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4F5A443C-92DF-4923-580C-273C879DDBCD}"/>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92C55FC4-BEC6-9168-DC86-89C37F5D4360}"/>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C7F1B00B-DEC1-52DA-45D3-1960E6D71623}"/>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B6780B95-BAB6-8A3E-A4FB-CA5BB683C571}"/>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477BFA36-171E-2561-1F37-C290A61171E4}"/>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2A8DCF7D-A2F3-71BD-CBEF-769BB991D6A6}"/>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4C7230DB-6029-11F2-0374-58A3E9C25C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B95B5E8B-D416-E690-6DB9-B8C7B333DD2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6718A3E7-1013-B9E7-9C98-779B434E725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0AA9B720-8C27-3FA6-3523-9F66FB4717A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7B22A57F-1D76-E77E-9E0E-26920A7A0E4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34611D1D-52B6-F878-A2C1-C60CFFC516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93E96F68-40D2-C777-A178-D5CFE8C5887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D03C229D-198B-FACC-1E16-8BE1789F8E8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BA962990-C250-C811-32A3-55F75254F73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3022959D-DF68-1B16-A997-E99B9822E90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3600F786-BFCC-DF48-E119-0B8395D9D4AA}"/>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F1867572-B56E-4D13-F081-5351742EF2F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B7F56B6E-EE1D-FE28-B90D-DB08DB48616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2BAF69AF-60FE-C788-53B1-F7C087E80DD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10F6E51-64D3-A5F9-906C-A884111D015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94A62D20-2F2C-0608-BE95-08D63BFF664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EDE44355-99F2-9048-F7F4-BDA970DA480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E7B16471-D817-14DD-3634-C8BAEF6DA9B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BA46C844-E63C-BA4B-2F75-11A00168B17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15E2DE41-4A5D-AD48-87EB-4DF01138564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EAD2CCFC-DEB8-EA26-6F62-4A87FCFB4EC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8A1CB188-4D85-B2F4-9F63-4BEA9F62074E}"/>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7B32B9B0-15F1-B5BE-DB75-89971FA1461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DB5F7C8-A1E0-4054-838F-BD27427098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8351BBC6-FF90-3CDC-4101-FD5A1D6BD6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33A05418-75B3-F997-E89F-54883496A87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5CED1A54-9994-2ECB-7FEE-B99341BF07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B8ADD0A-4E8B-A603-F0E5-7BA2F656EF2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E4DC8E6F-83F2-6219-CB83-26474ACD907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4395A08-5D89-5A14-C024-9AC18C3CBFB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C22E13A-8CD7-B4D1-67B7-CF0371CABD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073E21C-FA9D-0A1F-73DC-9036640A9CF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3DD8AAD2-5487-9B29-C60A-BD541757115B}"/>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5F6076D3-C871-3C38-8A73-8BE9E504C5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BB9A67A-3513-EEB3-48BC-0BD39BBC3BF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0986539-0C1F-8CE1-256A-A8B653CAE5F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D1964F6-341E-D203-CC90-AAE79CD9FDE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49E8A76-0867-D7A8-ECEF-9AF96201CBF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D0F4278-1984-F75F-29AA-194DB487C75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20E7388-B1E8-AF0A-AA62-01A8BC5A269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BB461CC-8840-A63B-C3DE-670EBDC6A22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0390E4F-EACB-840B-3C6B-02C4493B9A2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288032F-6384-2CE2-F5BD-3434698CF13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CF38B1F2-227C-FA8C-4EFF-5A8AF4EB8FB5}"/>
              </a:ext>
            </a:extLst>
          </p:cNvPr>
          <p:cNvGrpSpPr/>
          <p:nvPr/>
        </p:nvGrpSpPr>
        <p:grpSpPr>
          <a:xfrm flipH="1">
            <a:off x="-7335" y="5590698"/>
            <a:ext cx="2764139" cy="1070578"/>
            <a:chOff x="462087" y="5465252"/>
            <a:chExt cx="2764139" cy="1070578"/>
          </a:xfrm>
        </p:grpSpPr>
        <p:cxnSp>
          <p:nvCxnSpPr>
            <p:cNvPr id="227" name="Straight Connector 226">
              <a:extLst>
                <a:ext uri="{FF2B5EF4-FFF2-40B4-BE49-F238E27FC236}">
                  <a16:creationId xmlns:a16="http://schemas.microsoft.com/office/drawing/2014/main" id="{D8A981B8-9448-BA05-A59C-4F8612E8979C}"/>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8" name="Oval 227">
              <a:hlinkClick r:id="rId8" action="ppaction://hlinksldjump"/>
              <a:extLst>
                <a:ext uri="{FF2B5EF4-FFF2-40B4-BE49-F238E27FC236}">
                  <a16:creationId xmlns:a16="http://schemas.microsoft.com/office/drawing/2014/main" id="{BC7138C4-2F22-3F32-3B7A-5A221DF4A16F}"/>
                </a:ext>
              </a:extLst>
            </p:cNvPr>
            <p:cNvSpPr/>
            <p:nvPr/>
          </p:nvSpPr>
          <p:spPr>
            <a:xfrm flipH="1">
              <a:off x="462087" y="5465252"/>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Oval 228">
              <a:extLst>
                <a:ext uri="{FF2B5EF4-FFF2-40B4-BE49-F238E27FC236}">
                  <a16:creationId xmlns:a16="http://schemas.microsoft.com/office/drawing/2014/main" id="{CE3752B2-F161-8ACC-7438-B4D03F4ED056}"/>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90B875AB-E36F-C071-1D2D-85EFF2AFBF97}"/>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C3D0BABC-CB27-22C9-7B4F-36DE0E790460}"/>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A060197D-4BDA-3224-2281-CAADF696170C}"/>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F300BA6E-2CB3-BF19-6A74-963D3CA4BF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91BE8A2C-5C95-4093-0DAA-6E5358DD461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975FE58F-D348-31E5-C4B2-FA76B5BF754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41CD6F9C-A8A3-16A2-9725-8FB2ADA8122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6E1219A6-9CD8-C8E8-5782-3E8E05CC497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94211453-15C3-F5B2-17C8-D0F439ACF9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EC8FC5E2-2DDA-15CE-97E6-3DD8B2B4419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D189657D-F5C8-CB04-884E-143E6D0E11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A8CE3FCB-C447-3E9B-71EA-8AD902F757D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BF39D8C2-6B03-C537-539E-517D13C3CD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06AAE91C-DF75-65CB-71C1-11B3EAA94CF5}"/>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A5D2157D-1480-B131-E3F0-265C6EFE102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C621DB16-0D83-9545-229E-D4E8473BA39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B8F6A68E-B8D8-225D-B6F0-C2E2ED3AF9E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E95B8A5F-CF53-45BD-91C3-81167095DEB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E962B924-07A7-7A6C-35BB-A1A0DCE0BD1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C547F55B-7458-E8B7-CAE7-93E66626B51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19F48FC3-7A58-39C9-C989-CF4A9B6D5AF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E1609A60-AB27-0B13-9C1B-4B1DF522EC4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A2C519F9-858A-9CE4-5765-C7D48A2DAE4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AFD94757-CAEA-2CD3-220D-344AE02F4D4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71D5CE6-82EF-E9F5-6693-F0A28FCD25BB}"/>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16F32B51-1814-53E8-6931-D02B07A2580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3430F6C1-D2E2-37DF-5811-E56EDFE0D7E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B57B341-FE75-CF9A-AACC-81B2DBFDB9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ED7A91B2-CC12-2E14-3727-CA0C005E5C1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F0E0B722-CACF-B427-8212-7F2ED902401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E9CE9386-8FDF-4397-D8C9-14412E34216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9C7D9B24-B48A-9781-5BE0-B922C6559E3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9F8559E4-3B21-0CBE-4DD0-87801D5A574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4C2F22EA-23B8-430E-2B09-64C7AFB35D9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F3F14C0B-81AD-8A0E-DC9D-FBB7177C05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2EC9516B-A769-B904-54E8-460F8A3DE2A5}"/>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F3F16B8E-05CC-9545-D02B-14AF190A1AF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24ADB4E2-C875-5C59-EAA3-E07D2992DEC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05675C82-587A-6AD6-6915-E5CB25CA3BF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46983DA7-89BC-170B-A7A4-FB9E5E4757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6CBD42A5-DA97-CB08-D7D3-3BB44EB1F6F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AE8051C4-9246-4CB3-4EF1-395DD15874A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C25E6A70-2775-8FAE-9538-84FF50B7963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8D325E9B-4F81-DC5C-846F-CF90B94CD40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085B2CA1-805C-A2B9-F694-3DFB4230342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BA2A3A19-5829-055E-F3D3-0DC8FD97A8B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0959A369-B76C-67EC-7D75-773308D9BB6E}"/>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DBEA169E-97AE-5197-7AAF-62AAC5976C1D}"/>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F5A46D7C-5226-C9D0-13FA-5F55BACC6E1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A09CFF83-FA14-826C-89C8-DDA4B2AF192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D43B347F-1ADA-D0C8-76CD-4E9F4A42112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D9988E45-FE9F-B1E1-0C68-B56DA0E3CFF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77A5D66A-DA7D-0210-211B-E2A22971140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3667834B-B654-3BAF-74DC-B5E2B4B505A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C4AA20FC-050D-68C4-C419-CA91E3131E9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6E73F75F-C18F-9B7F-A75E-C1976515EF4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945C9F69-4757-6DBD-871D-FA69986E003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61BDFFF5-4B90-8199-6973-D1D42984997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1BF70C25-4F8F-02A9-9946-7CDA55082B48}"/>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2475DD41-F6EC-32F7-B7B9-468AB198299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EB1A12CD-D9A7-E812-1CB0-1330BB87874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205D7DA1-9E5C-4EE1-EE8A-F0E855AB9FD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1B4995D6-4036-BC01-DAE1-3684F4E298C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A2C38D80-CD99-44CB-A9BE-68D5E8AA84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254ACAC5-8834-7E26-7A68-AC070C65C7F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BA71CED7-E192-63E4-A2B2-09ECDB38963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97EA077B-DF02-46B4-AE0B-AAFE98E5946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6EFE8E79-DBFC-83B4-D237-49D1114B0A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112CF29F-0E53-AF3F-21D8-34E24D70FBA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CD0CE2E7-52A3-4DF3-7E99-7CBABCAC69BF}"/>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245AB669-A7A9-CB77-07CB-65DDE3088FB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0FF9F30A-D0EE-7BDD-5D09-87D331C2D7D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09374858-DC62-2DFA-0BDC-025CAAFC69D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0FAC21B6-85D6-2E52-0F8F-1F2ADA2D26B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5126431F-7302-8FCC-E084-4426F57D55E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303A3B3F-0AB7-EF7E-8ED0-B406D246161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E77D4347-D119-CA08-093B-FFB2C6DC4A4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3494ED29-157D-AFAA-6FF9-26B8DB82DC3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D28158B0-8165-5E76-D1A8-6093EFCFAB1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1580AEAD-7652-B4C2-7394-10D87CF7FD7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048A4A06-DD41-0654-A513-E3D3A84951E3}"/>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F4E88DF4-3CCB-EDBF-2619-D33E5D05A8B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B53C10F7-D4F1-01A7-4C1B-936484B0CFA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D957F670-700E-EDFF-9819-FFC930CA2BE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CD5E0C66-1F1E-683E-DC9C-D4046A503F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257EE888-A594-7D0E-18C3-1ABE32C1940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04AB25C8-CE59-DB57-F332-B1E1A6C3BAC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3029511C-84AE-7F1C-98F9-1A52512C971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2681A0E9-9CC5-677B-F718-D8197DEACE0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7648F1A4-2561-F626-B089-11F3850204C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985D63F7-7A63-07CC-58A1-EAEEA063C1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0A423423-CAAC-CCE7-7510-734693DDA84F}"/>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F490B6B3-3CBE-361B-73DD-2910074BEB8D}"/>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D8B0F5F8-3CB2-F8CA-9C81-2C6AFC49CDB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ABE364AF-2CE7-0440-E8CA-ECF8E8AAD25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92F1D82C-0A73-53D5-2A61-9AC7ABFC2F7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9AD543BC-AF75-D52C-A5C3-DD900A71E3B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68A3E844-20EC-7494-9432-9149F7F1101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78D8560E-7231-BE24-E761-86D2ACF9E32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8EDDEA3C-2A9B-28F5-C672-5ACD98E2E16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6E00754A-80C4-22BF-E5F1-CD0532147C5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9FF6BB79-192E-ADA7-12E0-C345723ED8F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12ECBFAC-F9A6-21DA-D2BE-29754E3B7FB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84C4CCE1-6A96-3110-9D8E-5639FC0D22B9}"/>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01644E15-5208-D86B-3B10-CC8451F7F89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0C5A1B59-3F06-9DD8-A268-7F9A87AF8D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2D5508B4-F774-DA1A-2A49-EEB2273848B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4368F2DF-0FE0-2FA7-C838-00C59FD80C8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EC10219C-DCAD-268F-C680-1288D21CE96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8F5DAF1F-8745-AC46-B3AC-E716E740505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E6EC7566-62EC-4951-5EB0-2AA4CB2FD1C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D29943B5-9429-2520-EF2F-C41BB6DA1C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07F55F92-48EF-D295-FB9C-283F70D9AAD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077CB37F-0830-950D-F7C6-4CE046E2740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8DB31895-14DE-99C0-C9DE-9A7854D12CC5}"/>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D78A79AB-2949-F708-6FD5-DE08A91239D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70AE601A-F876-2307-F1F5-75E65FF93AE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9C2D2F32-CFB8-DDF0-20CC-7F6C9A82EE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9000D8C2-E860-4391-7E2C-CD769723C7D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92AD31CC-963D-B130-8F22-CDF9420EAB5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A91902CA-7A8A-CE69-9FC9-EE7770EB8FD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F324AFB4-D19A-033C-D9EA-51F4E30CC9E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A401F84B-44A5-C17D-FD6C-49583A5E7CC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BD924ADA-DD87-20FF-25B8-B5EB229CA84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063C8041-20CE-EDD1-5FED-08DB58786A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DDF20C6D-3B2D-FA73-CADB-F7CDFD0C9B44}"/>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3BE5CEC5-8CAC-09BA-A58A-050505927E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7A4BC319-F51F-B295-6BB9-9AA691AFCAB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E3C8EC34-181F-75C8-D6C2-140FDC0DCEE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CC411504-5B80-87E2-935D-7907B8942E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6CE75B12-C2E4-9355-D682-B7EE89DF7C1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47E9060F-BBD7-992E-FC44-B0A3D60D684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81ADF6CD-FB29-D50D-08E7-F3A916D19A5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3F9EF0B7-92F3-A676-06D7-3CE1FE67D3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AA0489FD-6B49-220F-556D-E8108F90C9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A1970B44-3E64-C78F-2291-C85BB36B3BE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6" name="Rectangle 65">
            <a:extLst>
              <a:ext uri="{FF2B5EF4-FFF2-40B4-BE49-F238E27FC236}">
                <a16:creationId xmlns:a16="http://schemas.microsoft.com/office/drawing/2014/main" id="{A8DEEC98-1C77-C517-EDA7-F2CAA553D777}"/>
              </a:ext>
            </a:extLst>
          </p:cNvPr>
          <p:cNvSpPr/>
          <p:nvPr/>
        </p:nvSpPr>
        <p:spPr>
          <a:xfrm>
            <a:off x="1611874" y="1110522"/>
            <a:ext cx="3587457" cy="646331"/>
          </a:xfrm>
          <a:prstGeom prst="rect">
            <a:avLst/>
          </a:prstGeom>
          <a:noFill/>
        </p:spPr>
        <p:txBody>
          <a:bodyPr wrap="none" lIns="91440" tIns="45720" rIns="91440" bIns="45720">
            <a:spAutoFit/>
          </a:bodyPr>
          <a:lstStyle/>
          <a:p>
            <a:pPr algn="ctr"/>
            <a:r>
              <a:rPr lang="en-US" sz="3600" b="1" i="1" spc="50" dirty="0">
                <a:ln w="9525" cmpd="sng">
                  <a:solidFill>
                    <a:schemeClr val="accent1"/>
                  </a:solidFill>
                  <a:prstDash val="solid"/>
                </a:ln>
                <a:solidFill>
                  <a:srgbClr val="168DA5"/>
                </a:solidFill>
                <a:effectLst>
                  <a:glow rad="38100">
                    <a:schemeClr val="accent1">
                      <a:alpha val="40000"/>
                    </a:schemeClr>
                  </a:glow>
                </a:effectLst>
              </a:rPr>
              <a:t>Disadvantages:</a:t>
            </a:r>
          </a:p>
        </p:txBody>
      </p:sp>
      <p:sp>
        <p:nvSpPr>
          <p:cNvPr id="67" name="Rectangle 66">
            <a:extLst>
              <a:ext uri="{FF2B5EF4-FFF2-40B4-BE49-F238E27FC236}">
                <a16:creationId xmlns:a16="http://schemas.microsoft.com/office/drawing/2014/main" id="{05F0BEEF-7769-E3FA-284D-784D1F9A54EC}"/>
              </a:ext>
            </a:extLst>
          </p:cNvPr>
          <p:cNvSpPr/>
          <p:nvPr/>
        </p:nvSpPr>
        <p:spPr>
          <a:xfrm rot="10800000" flipV="1">
            <a:off x="1677366" y="1914680"/>
            <a:ext cx="6426663" cy="3539430"/>
          </a:xfrm>
          <a:prstGeom prst="rect">
            <a:avLst/>
          </a:prstGeom>
          <a:noFill/>
        </p:spPr>
        <p:txBody>
          <a:bodyPr wrap="square" lIns="91440" tIns="45720" rIns="91440" bIns="45720">
            <a:spAutoFit/>
          </a:bodyPr>
          <a:lstStyle/>
          <a:p>
            <a:pPr marL="457200" indent="-457200">
              <a:buFont typeface="Arial" panose="020B0604020202020204" pitchFamily="34" charset="0"/>
              <a:buChar char="•"/>
            </a:pP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Convergence to Local Optima</a:t>
            </a: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Sensitivity to Initial Parameter Estimates</a:t>
            </a: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Computational Complexity.</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Assumption of Stationarity</a:t>
            </a:r>
            <a:r>
              <a:rPr lang="en-US" sz="3200" b="1" spc="50" dirty="0">
                <a:ln w="9525" cmpd="sng">
                  <a:solidFill>
                    <a:schemeClr val="accent1"/>
                  </a:solidFill>
                  <a:prstDash val="solid"/>
                </a:ln>
                <a:solidFill>
                  <a:srgbClr val="70AD47">
                    <a:tint val="1000"/>
                  </a:srgbClr>
                </a:solidFill>
                <a:effectLst>
                  <a:glow rad="38100">
                    <a:schemeClr val="accent1">
                      <a:alpha val="40000"/>
                    </a:schemeClr>
                  </a:glow>
                </a:effectLst>
              </a:rPr>
              <a:t>.</a:t>
            </a:r>
          </a:p>
          <a:p>
            <a:pPr marL="457200" indent="-457200">
              <a:buFont typeface="Arial" panose="020B0604020202020204" pitchFamily="34" charset="0"/>
              <a:buChar char="•"/>
            </a:pPr>
            <a:r>
              <a:rPr lang="en-US" sz="3200" b="1" cap="none" spc="50" dirty="0">
                <a:ln w="9525" cmpd="sng">
                  <a:solidFill>
                    <a:schemeClr val="accent1"/>
                  </a:solidFill>
                  <a:prstDash val="solid"/>
                </a:ln>
                <a:solidFill>
                  <a:srgbClr val="70AD47">
                    <a:tint val="1000"/>
                  </a:srgbClr>
                </a:solidFill>
                <a:effectLst>
                  <a:glow rad="38100">
                    <a:schemeClr val="accent1">
                      <a:alpha val="40000"/>
                    </a:schemeClr>
                  </a:glow>
                </a:effectLst>
              </a:rPr>
              <a:t>Lack of Guarantees</a:t>
            </a:r>
          </a:p>
        </p:txBody>
      </p:sp>
      <p:pic>
        <p:nvPicPr>
          <p:cNvPr id="69" name="Picture 68">
            <a:extLst>
              <a:ext uri="{FF2B5EF4-FFF2-40B4-BE49-F238E27FC236}">
                <a16:creationId xmlns:a16="http://schemas.microsoft.com/office/drawing/2014/main" id="{9486DC30-AC86-3DA9-FC55-7D50E0DC8302}"/>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400000"/>
                    </a14:imgEffect>
                    <a14:imgEffect>
                      <a14:brightnessContrast bright="20000" contrast="40000"/>
                    </a14:imgEffect>
                  </a14:imgLayer>
                </a14:imgProps>
              </a:ext>
              <a:ext uri="{28A0092B-C50C-407E-A947-70E740481C1C}">
                <a14:useLocalDpi xmlns:a14="http://schemas.microsoft.com/office/drawing/2010/main" val="0"/>
              </a:ext>
            </a:extLst>
          </a:blip>
          <a:srcRect l="53231" t="-2874" r="-2021" b="-7065"/>
          <a:stretch/>
        </p:blipFill>
        <p:spPr>
          <a:xfrm>
            <a:off x="7709532" y="804622"/>
            <a:ext cx="3531891" cy="3434704"/>
          </a:xfrm>
          <a:prstGeom prst="rect">
            <a:avLst/>
          </a:prstGeom>
        </p:spPr>
      </p:pic>
      <p:sp>
        <p:nvSpPr>
          <p:cNvPr id="225" name="Rectangle 224">
            <a:extLst>
              <a:ext uri="{FF2B5EF4-FFF2-40B4-BE49-F238E27FC236}">
                <a16:creationId xmlns:a16="http://schemas.microsoft.com/office/drawing/2014/main" id="{10E0FB66-D8E0-FC78-E6CF-249165674599}"/>
              </a:ext>
            </a:extLst>
          </p:cNvPr>
          <p:cNvSpPr/>
          <p:nvPr/>
        </p:nvSpPr>
        <p:spPr>
          <a:xfrm>
            <a:off x="837036" y="154474"/>
            <a:ext cx="7830542"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Challenges:</a:t>
            </a:r>
          </a:p>
        </p:txBody>
      </p:sp>
    </p:spTree>
    <p:extLst>
      <p:ext uri="{BB962C8B-B14F-4D97-AF65-F5344CB8AC3E}">
        <p14:creationId xmlns:p14="http://schemas.microsoft.com/office/powerpoint/2010/main" val="374372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childTnLst>
                                    <p:animEffect transition="out" filter="fade">
                                      <p:cBhvr>
                                        <p:cTn id="6" dur="1000" tmFilter="0, 0; .2, .5; .8, .5; 1, 0"/>
                                        <p:tgtEl>
                                          <p:spTgt spid="69"/>
                                        </p:tgtEl>
                                      </p:cBhvr>
                                    </p:animEffect>
                                    <p:animScale>
                                      <p:cBhvr>
                                        <p:cTn id="7" dur="500" autoRev="1" fill="hold"/>
                                        <p:tgtEl>
                                          <p:spTgt spid="6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211F3-250A-DEFB-C461-628880FB1AA0}"/>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7A91F9FC-A0B1-76EB-26F6-F600AE6B65E5}"/>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DC051F9A-DCBB-8EA6-34DB-37F16CEB2E2B}"/>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991D6CE4-DAB7-8E83-98FE-32C07FF8494D}"/>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7ECADA3-FA6A-A7F9-7238-A53878FE3BED}"/>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769FB97-55B1-B8F6-D23A-A5C398FF8BF3}"/>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F51EB50-7907-F312-4464-4031ECBFCB1C}"/>
              </a:ext>
            </a:extLst>
          </p:cNvPr>
          <p:cNvSpPr txBox="1"/>
          <p:nvPr/>
        </p:nvSpPr>
        <p:spPr>
          <a:xfrm>
            <a:off x="4009863" y="5202057"/>
            <a:ext cx="8817134" cy="830997"/>
          </a:xfrm>
          <a:prstGeom prst="rect">
            <a:avLst/>
          </a:prstGeom>
          <a:noFill/>
        </p:spPr>
        <p:txBody>
          <a:bodyPr wrap="square">
            <a:spAutoFit/>
          </a:bodyPr>
          <a:lstStyle/>
          <a:p>
            <a:r>
              <a:rPr lang="en-US" sz="4800"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Baum-Welch Applications</a:t>
            </a:r>
          </a:p>
        </p:txBody>
      </p:sp>
      <p:sp>
        <p:nvSpPr>
          <p:cNvPr id="25" name="Freeform: Shape 24">
            <a:extLst>
              <a:ext uri="{FF2B5EF4-FFF2-40B4-BE49-F238E27FC236}">
                <a16:creationId xmlns:a16="http://schemas.microsoft.com/office/drawing/2014/main" id="{160AD755-96DF-A190-4E69-661540D1A39E}"/>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6D1268C8-8610-7026-5CF5-4CD6BE3CA582}"/>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520B2B2A-9C97-01DE-9739-30FD938C312C}"/>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71D6B3A5-A95E-3D99-7229-F83187D12076}"/>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51655C-C165-94B6-D8C8-62183C8582C2}"/>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C2109624-12BA-59EA-8E61-A0AFD451B664}"/>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6</a:t>
            </a:r>
          </a:p>
        </p:txBody>
      </p:sp>
      <p:grpSp>
        <p:nvGrpSpPr>
          <p:cNvPr id="170" name="Group 169">
            <a:extLst>
              <a:ext uri="{FF2B5EF4-FFF2-40B4-BE49-F238E27FC236}">
                <a16:creationId xmlns:a16="http://schemas.microsoft.com/office/drawing/2014/main" id="{0E44FAFC-AF7D-270D-373A-0BD86469075E}"/>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AA8F778D-276D-2E97-8756-5781B3EF24D6}"/>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8B74C5DA-380B-5F3C-C8FF-828E5914ECE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8865C2D5-7400-B88D-0DDF-EB726CC4E33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10503AA2-B81B-3435-9134-A2A3CF444F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595C7604-83CD-1FAC-BBAB-9DFEB23206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7EA06B7B-F403-CB1C-B626-6C4B3AEAB0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B1CC649E-8177-3E4E-55EC-FDBF487C8F3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6B3E9269-C4EE-44E1-FE4C-396FFB61D73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917C7D94-CCEE-720B-18AE-289FD0B44DD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146E977E-35B5-10DE-AF18-9470AFF102D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EE467E79-5838-F456-0E3B-9097FF08402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054BFBFC-055B-C9F3-7C7B-FEB1FBA13A59}"/>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87A23092-589B-598B-F06C-D7823AFEA99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5A0AE8B2-7FEC-3C31-28C6-F0867130AF0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6381C8F2-61C8-7079-88C6-B626813CA7B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105610FB-4431-2BC5-A116-92D140F38A9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0679A546-7C28-CC77-F2E6-D5F1737A558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D2B119A2-959C-AE83-508E-64AA37F13F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17C3DD20-AD79-B563-BF8C-53E1F2FFFF0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3962B9EA-C327-A3F3-A554-AC65E31E8FA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630C9D17-332E-741D-B078-27A1822AB06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D953B63E-72A5-1F39-FD10-37E522C4F6A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1F355A32-E31F-5C19-6F2F-0217218C1E4F}"/>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9D78BAD9-9987-73DC-A8C4-31DBAFDCB84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C0E0FDC4-C227-1DA4-6FA9-EA8EE5A924A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BBD6D07B-CC7E-46EE-A0F8-AA7F8F92A16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38346A8D-1012-0619-B453-07C37536530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7BBA81E7-F4F3-940A-3350-0380183ACCC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7B895700-77FB-8699-2632-340D6CA0D1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B067DDB6-4230-9461-AB56-C3498A0F7DA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CDB34244-339F-1B90-2511-C62832539D4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573240EE-125D-E635-8841-018915B57D0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0F005DFC-3D83-5B08-106A-44CC54B4E23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C84BCB47-A361-B2BE-CE27-469D5ACB783C}"/>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DCC57A3D-0A60-8DB9-F7DA-8EE06BB895F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EF59868B-4C4B-8CD0-F8F2-F067050635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B3E2D580-B2D4-09B9-5A3C-E4E35D797E6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592552C6-0207-41C7-A329-ACE681DD63D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609372F1-BBC3-DA54-9B97-AB441C00BD4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D2433562-B211-0A7B-6113-AB43F2C26A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FD9A4C2E-15BF-C182-6596-094F9AB35AB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76607290-B8C9-DEF1-2A99-711BC7D447B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87C5FDD3-A4BF-D12A-4982-6DB84AB8EBD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1AB5C9CA-70A4-F9B8-0D15-49E8FFC5911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445468B6-D4FD-F2EF-B59B-50E4FD692130}"/>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552573F4-60E3-2C04-DD67-4A004F5EE3A6}"/>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BF54D0BD-03F3-0C8A-30E1-F14E3071B1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C9447EDA-7317-CE9B-F580-0AAB664467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6945D9D7-BF3B-7D6C-5E86-5BCDE5C181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C75AA43E-8D24-3CF2-131C-9CFE8696FA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297E899D-1893-F11B-F6B3-2A926BBB3BC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0A97BC55-159E-DDC0-5B09-EC81B0D21EE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4F665A3B-86B4-7985-5AB8-C3AA117EA1A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7CA5B02C-01B5-59B7-31D7-80B2999DB4B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15B2ED00-E936-581A-2B7E-02425087692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F79E6E19-E72E-113C-DFA3-47369A4EF25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89550609-22EE-850A-9B9A-9D6722F73F84}"/>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C206EAC7-9C99-8AD3-4B9D-9670021E5F4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AD827A78-166B-59EB-AB8D-CDE357DE0F7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0301AE42-9F73-6CDB-3710-69AE664C11B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EF1B5C03-7BCA-EC90-BE56-52E0715A865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8BE8D9BF-025D-DE23-7383-FB250D54B7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6562DB6B-1DBC-44B6-3696-DE1A7855EB7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C628FA17-4242-81DE-8928-C4EF4F8418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5A2E2A97-482F-BF85-4B6A-D0746CD3884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9381DB83-2E38-9D4D-09F1-1F396FE0EB9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1BE1C29D-4107-602B-C7CC-EFDDD3CF098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C450A6A1-F95C-7A66-5616-AF9CDEF0438A}"/>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10E44452-9B46-A181-4608-2EACA57E403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517831C6-B078-04C7-6D6F-86CD651D341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C7B4041C-5615-E2E8-EADD-4AC7416F77E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78CEF40F-4E98-1D3A-609C-BDD2C460ABF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43EE242C-35E1-CB90-FEA7-CB4F0812FF7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84AD5045-B2CB-97DF-7225-C4AD27EF021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447BCA4-7372-9AD6-7E01-FF3AF450828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129CE022-421D-F940-DFEA-43D424EF3B7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DBD2FE96-5D7E-39C8-E3EB-FDE6BF17B7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C3F211E5-0E91-73C3-10BA-4167FA15720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AD092D75-2ABD-7786-F10A-A95A868AE6ED}"/>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939E0665-7233-2C75-EB42-90C930E5547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6511A703-5CB3-F16D-D6A1-5FB2D810156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379D23A9-68D0-7D8C-F95E-C5BFFA99363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EEEB5D0F-660E-091A-ABF8-D945EA35F31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CC2AFE9D-6DE8-5162-F053-7BC50A64CCE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35607136-BC0A-419D-3587-E9CF336E66B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7039F818-F20E-13C0-E3C7-B2ADA81782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208BC333-5CBD-E4C6-88DA-63045A18C33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AF317DD4-AD2B-BF07-1969-20780E20359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3302C2BC-EA69-A28E-4B2E-A02933AD187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7009E577-91EA-D66D-86C0-03714D11A115}"/>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504B7D3F-AA30-BC63-72F3-FAD04BFF0CB6}"/>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0E29DA97-D5F1-45D3-6917-90811A273A9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729916E4-AAE5-E5DE-B8A0-0A608A7F6F1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B6499641-D0EB-E920-C331-DC8A52B085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824C6FBA-D0A3-1C14-DF75-39E9ACE646A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F3A19A75-CFB7-DF4B-4293-560E8199B8E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C947537A-B691-F5CF-B058-02029E54750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49F97A2B-CAC4-0942-2FBC-30FB709006E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C013E23F-4D7A-8C90-F059-BFE0CC1A663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CC07E831-2A32-4D78-6521-64F0FA3BF7C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4E91D3F5-EC81-C8D1-5AE5-2F0A85E7BBA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D6B2FE6D-9428-85D8-A8EC-CA7A370A9E49}"/>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C0610173-C5C6-0985-AC64-37A64DA2E77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FA285BB1-8AF0-5397-F8D6-E97EC78E2A6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4D77D94F-F864-7FEF-4EEF-A78AE87FA34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241357B4-5B9F-323B-24BE-CDB25E0BAD7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1FC3CDA2-988A-5C91-11F5-B54E68FF888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D4DB867C-D89E-AA6A-4972-AD56B91EACA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7376A20B-171C-FAFA-E815-85ACA7018F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368CBD04-6255-F75F-9F94-6E1D52212D5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E87EA740-02C3-E5EF-8FFD-13D10034DD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60A51206-7267-9593-B937-706BD3247F8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F3303A1C-A5C2-61B7-5783-6EC95A8EEC5A}"/>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C76B9366-9D1A-6121-C24E-1C60B0C1C7E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7467F354-3BD5-5239-2D12-78C5C82700F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1814A90D-E285-2278-9D85-E01E6A6FAFD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83363B60-DFA0-658F-2A23-100CC8BE547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2AA4FA64-E1B9-907F-79EF-1B906B7CB6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1B778003-58F5-8212-01A7-2680CC960B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F26620AF-3966-85F8-5603-8D59DD65AE2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92A7EEC5-B7D3-65D3-2E08-5E749EC01B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1A944E67-4C3C-F72A-6BE8-26048B6189F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5E1A7D12-F040-5A96-D871-A1FEC9249DA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31291187-D4D2-033E-A9BE-866811E36C3B}"/>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BED2DC4C-D2E9-D624-6C77-AEB79A61BD9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304B7C8C-0B36-5FB2-6293-660418919E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DA917E15-709B-2DE3-71F0-A2297137B3B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A33B791F-3183-B685-3B1C-42D0649A509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809E9820-3B74-B280-BD5F-D00F75940C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2F01CD9B-3EE7-E100-E87C-14C47451278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6B60F0EB-BFEC-2C88-93B3-C012B1E2325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ACF9E998-BDD5-D93F-A875-B68E50FCD06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3BB8CDB4-14B1-5B92-8B9C-1E4C4EDCBE1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83DB5C8B-440E-99E7-F269-6508B19623A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B1C4EF65-F8B2-552D-6814-C79995CA763B}"/>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E6B0CE86-24F6-01F4-F6CF-21049E9F37AE}"/>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184B205F-CE73-3F77-F142-CBA211BE01F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A213A016-3E79-4DD1-64A2-81769D724B0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C2F1AAA2-551F-8A4D-03A9-9F352EA5A4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47F875AE-7CA6-EA14-CFF4-468C9E2CAF5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99DFC3EE-66A4-CE8F-CF3D-7620B1FFBE9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A5A3F586-311C-FC97-59EB-9530F4D7529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6940B704-6ADE-9D7A-A759-91CCBD0634A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75E76D35-6357-B05E-E4F4-7FB4D1AA7C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6B318D65-D5CA-2C9B-149C-F0D935E1A78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2C893613-5C51-1DA1-F43C-2A8F46BA8C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F2143562-A6DB-BB39-2C12-ECAC9539630E}"/>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806E3332-9BAB-4217-EDC5-C727942B759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6913F52B-2A3C-9E54-6A13-56252363D19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3DD1D9D0-1AD9-F5BF-9CEC-4A12702DC7C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2D254635-1417-C905-0E0C-F7DA1B29938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FCAFF4A0-EE4B-CE7C-E750-60731EFDEF8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34B98375-B959-1BB3-9FDC-1645882B2D6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0AD5A7ED-9B90-95E8-6158-1E99DD8C538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8551900E-4DAC-67C5-440E-74A4A788B21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ED80FA1A-B4F2-CA74-FA6B-E77FC3B1F50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AECDC3E7-4CB4-53AA-0DCF-E369956CAA9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7801035C-8F78-4A50-0762-B87281041793}"/>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390332F7-70A6-1586-31D2-EA76A865469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5FD5BC22-7F10-0D2D-7334-3932ED420C8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44D2C30E-C19D-6CD2-C718-489DF81AB62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290E1F3B-3115-4A52-3671-AE1254D04A2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F9541D8F-F0CB-CBC1-749F-28E962281AC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FD4590E7-B975-86FB-4F48-BC206B06C31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B0FBC8A7-BD48-15AD-19C2-28FEB282277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D36FE274-941C-2CC1-8136-F51C84D683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34EE8C36-6058-BBB3-8DC2-1AD82C55071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A0868F2-0EB7-7292-1080-876520A4AC0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DDA73A8E-E9F3-BEEE-B0A9-C39543F73A32}"/>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F44B3372-AED7-0B6F-DC34-90D56EE90FA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8624A1A2-2DF1-84B5-1B48-E467162C764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33E1E3A8-3A44-DC7A-D254-3434B7D3871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3809623C-1150-80AB-E055-6AF18B6DE3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BDAA427B-9DAA-FB1D-60AD-DA10E20B33A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DFDFC07E-6B43-DF27-04D4-F21B8D71A1F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8AAD86BE-532F-133E-9C52-9322057BB3B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77A3D481-CD0F-D93B-25CB-3B1AC2EE6DB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77B9EC9D-FA1A-8091-3BBA-D7A09698258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4D2D4604-B763-B50A-1C9F-DE43923CE57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E64482E5-9C5E-0E37-1303-EB4099FE5E90}"/>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621AB149-45BC-C1C5-4F7F-4767C1657ACB}"/>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640753EE-05D8-5910-D49B-59E8CE0B8953}"/>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CBF78E64-89AE-C8BF-8B79-068C2F54DAB3}"/>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050467F1-952B-F580-3FC3-9831F8E8CB46}"/>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7AE114CF-1ECF-CC7E-246F-973A159520D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E1C63FAB-98D1-39FB-25E2-067005602EB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4A2FE887-8212-BD9C-50DF-EA2B7FF3C96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0071AC42-E2CD-BA92-05BC-7D3D7A888D6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2B6BCDAC-EE6D-3517-54D1-6255076D868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D0971AE1-E9FC-5E1C-DDC0-D28D64704F4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C0291452-AD37-92B7-FDAD-4A88653A4A2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877742F6-73C4-96DB-A11F-166D93E87F2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1B13CA1D-2BEA-5E2A-59EC-02BA76DC71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7E4BCDB3-C4B5-9CE2-D57E-D8E2445A6CA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7141BF74-D8C0-CB50-3155-84DAFBA4302A}"/>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ED514FDB-3126-27CE-7F0F-CCF24CFFAC0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F3AA73EF-3E8C-0F2D-02DC-58551B3BA11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F751DB2E-1276-0100-0DF2-5F6872BEAF1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EE193C7B-4F81-5846-5CE0-F7B84D96F1B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4C71DF89-9286-2307-2B34-1A0F26C347C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FCBB0258-A67F-EE0E-0E9B-93011FF4C04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9254D755-E123-9C17-F86C-6D27D69A4D7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A5CF8BDD-AD50-99C1-A3BD-B9B8700DB85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4AFC0CE8-BA21-DD09-A53F-480FFB8322B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0047E416-9BDD-1883-97BC-8D1374A8F3F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3C432662-EED7-BD60-B29C-A686CBB50BDE}"/>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49F5373E-5B7A-D8C0-0CC7-C342536696D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80A3714C-A89B-0B77-80B1-2ACF648A4FF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D92BEC2D-00F6-886B-C530-4B2B485D075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ED1A929E-989C-6F31-D1FF-48AE5BF3EB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E8C618F7-1CC2-8280-E161-8A10B9A223B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B5CD6DCE-6003-9BF1-EE5B-613BAF81D4D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8E3DE58C-D538-A2ED-7F80-0EF1A3F1B74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550D4B3B-3226-CF33-2FA5-0183EB26941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489198D9-1288-D831-EFE7-3CD756AF597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3EA4AF84-D2F3-8D36-1D12-268F8880226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F26FAC67-C0AF-D811-3954-C88DEE971A3E}"/>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B7EA2E4C-74A0-BEC1-5630-7FE66AA9A97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6AB072B8-3970-466F-1AC0-BD59C1FA141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8FC40150-BCAB-AB13-0AC4-02182DFA221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5ED7E6EB-4F3B-5CFD-02AF-DE3452CB6F6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E3FE98E7-97CC-58B7-3E2D-B9C77ABB3FE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4EDBB527-D056-B020-273D-53D64F20E06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0D553D2C-C2A3-F5FD-15BB-E8BAC6FB40C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D697AA2F-128D-AC2A-5CB1-FADCBF21798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BBFE7B32-BF67-DC28-062B-90FE4826FB2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C7D8F404-24C4-DA79-B4E7-CDFBE25DE2B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423095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45759-EB11-E3EE-419D-F7805A10F6B6}"/>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DDA70D40-699B-9877-1650-88A15A6B551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5ACC4977-AD31-F12E-7621-24D3CD39C2E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95B985F5-14E9-FAAA-AD88-93B8FE2020B6}"/>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C2D9B3B-0DFC-0744-19C8-579F3B17B9F5}"/>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699796E1-A308-5D35-ED3B-C8B7C63277B1}"/>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4B4A6B42-83D5-E2C4-6E3B-E978D0DA1816}"/>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6174A13E-D9B3-45A5-F765-D01CDA7B4A26}"/>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0E92E870-1323-C4C9-2EA1-BE80D22090DE}"/>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4" name="Oval 233">
            <a:extLst>
              <a:ext uri="{FF2B5EF4-FFF2-40B4-BE49-F238E27FC236}">
                <a16:creationId xmlns:a16="http://schemas.microsoft.com/office/drawing/2014/main" id="{4A1579D8-E8CF-3FB0-800C-1D074718219D}"/>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54027B3E-C9FA-2018-6005-0E50DF10DC52}"/>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9FA09D70-0CEC-226D-0A69-A720A7324B36}"/>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C422C81E-54EC-9C00-C45F-C6668D3F382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832D7B46-B6F8-0620-EB6E-44B8BC73EB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CDB2BF7A-7B1D-9AEB-2ADC-F680076CB6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C8850965-D6E6-AF24-79AB-14BC9E3EC9B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5088AD9A-7DCD-B561-CC21-A80AB53E1F0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C42CCFE1-2CF5-0598-FD34-32F3B40F37F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3FD01A49-D2F2-FF58-05FA-8C59389ED27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E194BF04-0435-76EA-910A-CAA9BAB110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A99B01EA-82FD-1D68-9C0E-B5B841A192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F3A77D9C-521F-25C4-3D15-600669537B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EF2BFAB6-7667-F107-E640-435C215DED31}"/>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93A47658-8DB8-8E3E-C845-00C9B48F0AA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6F17BE01-3DB1-DD05-448E-C23CCEBA5C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7627E28A-FBE3-7331-C9BF-6AC3208FD9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F808AFE4-B6C1-9199-073C-B19EB8CE720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81D46090-B61D-D1BF-7366-66E814FB900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AFB9198F-AA31-9DE3-A4F7-5C0AA30DCC0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BEF71D69-46AB-E790-23A2-6809B76CE9A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1DCDD907-EF8B-BD2B-8116-BBE27AE41AB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435D0C82-C4E1-89AD-542B-871D6CFC33F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D64CF870-E79F-388C-EE0E-2B3402C37F7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682A0527-DAB5-5F91-F049-523E4050B199}"/>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49765AF7-1E0D-632A-4F5E-7B14D0D825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A7C138E-7418-420D-374B-D76AC89BF85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0CF7E10-9D33-E745-1D25-CDC5F19302C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6EB0CA7-B396-44C6-0DB7-66A8EF0944F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54EC939E-5779-2EB4-8DBD-8DF913F2A8E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D3E2544C-D844-BEB4-9998-674538E1388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91E9BB6-58A7-AF84-26F1-A967BF095EF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7E51985-6E37-182A-ED72-DC96060395E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C01CA242-E93B-0982-49B6-A6F399F8ABC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F4FAE1DA-CED8-81AF-4FB0-76D7530DF1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92D62202-5745-B572-30EF-7710B0039CDE}"/>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BFDAF09A-65E0-22EF-D038-DAFC2EA5EE2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5C47823-9565-6A01-74AD-3849172AD1B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369343B-B52E-FF14-6024-21255D83B6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DECA49BC-01C7-026E-5E20-64927220845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A7BAC5B-1218-3BFC-254E-182CA71FB03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45BF466-D116-0A47-DA28-1BDCF57F690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7F524F2-39CC-D62D-0622-DCD9B698C4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3CD3C034-C3AF-2469-BF02-EE1B9BEDD18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804A39C2-2A4F-8EAE-B7A7-C452DF5D756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8F6A595B-D25A-E383-2545-89ED0B600E3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5A01664A-E697-55B5-3344-69D08933B88C}"/>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84EE81DD-FCD0-C700-D105-B243C2DE17CF}"/>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55664E66-8989-9AD0-E956-ADB5D3C2B6D8}"/>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2ED3B665-41B2-3D01-3C7E-11B00088DB4E}"/>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AF39045F-1E72-683F-B308-1366DDAFAA34}"/>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410DC27F-2345-425E-292A-10659CEA4E71}"/>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BF178023-8936-97C9-28FC-0841CD3CA2E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0358F0E8-A4CB-59BC-0572-29930D43F5A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E4448C43-3338-4DE8-169B-DED821C0848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1EC8EF6E-4274-6559-E399-D69383202F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24B6617A-CA93-7B96-CD76-1BEF051EC3F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FA13124B-53C4-04EA-6EE8-A07C6B2A333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C72A0233-B72A-39E6-286C-E036474017B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3CA9F797-E699-319A-4C17-F1C7E39D79E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C5896115-22EA-34F8-5D10-11FAA2282D1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31191CB3-3787-EA13-F366-56F35D07644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BC8E459E-DB64-3BA0-F81B-ADF405C13DCF}"/>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2FF8C44F-8A17-21C3-B3D5-F36492ABE84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4B2AB740-715D-92C6-F380-DDA84CC9B74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C2102E00-78B7-506B-9DC9-2CE15859B31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002C17CC-6E0B-A311-9A87-F62D135ABD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449A39DA-3BDD-9D4E-0BBF-7E1DB413A6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D1F0F648-B8B0-B7D8-7538-988F73E0849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B2490786-0157-53B8-80EF-C0D0DE3B72A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B2437FF7-9970-DF90-7785-8FAED1CA019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FA4E26D8-C206-9B19-69BA-F1FED4C4E9A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B77E3B43-A869-6F5B-A89D-7B47D572006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3EE83545-C21B-3D1B-8743-40A08ED7D3EC}"/>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6445E875-9C4B-1F57-634B-99C479EE061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42CA9A26-8510-6D43-ED44-1535CD2671A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63E5DD95-AA74-1DDA-E25D-B88703EC3D9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EC0838A3-6F4E-4E31-E877-6D3C9A72F18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069DF5E6-D17E-378D-888B-330E2B9555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5F0656B8-91BB-8B3D-0937-7D10B7EB656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C5E1156C-66B3-8ACE-8AEB-91562F373CB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B24EC6C2-7CF7-976C-C338-5BBA908C57E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D7EB47A2-EAC0-7B32-0210-AAC8126250B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8037CC54-5F44-C03F-807F-E01D56F228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8E8F254C-D7E0-FAA7-A6EA-FCBEE54C0077}"/>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7F9BD96F-C20D-35C7-D524-BEC45CA9E2E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8DE362D5-9DDF-1810-A840-ED854A9CCA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D230D4DE-DEE2-77EE-FE33-4A4556E3A9C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34662769-B90A-587E-5003-4AF2A33D4AF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8ED024C8-21A4-1DAD-F477-E167CF15B23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324981FB-1CDA-742F-FE88-FF65708932D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B17C0473-9A72-C5D6-62FC-66A27CAC4BE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B74CFC3F-6BF4-DA0F-753A-4779452D482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61427568-9D0B-4D18-901B-1581F2BA8FD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2963D6C1-3AA9-12A3-D676-7F49B47535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4775EB2D-62B8-5F83-308F-196D64428966}"/>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2F414144-4C26-AFFD-CC3D-C03DCE4AE714}"/>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91A995A7-F9E7-19A4-E01F-550E8CC0C73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027C30AF-1425-A0AB-785D-B47DE30C04E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A8518DBF-E4FC-DF3A-E75C-1CA160D2F3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72ADDFC5-5415-33B0-63D6-304E19ACEE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F726C68E-29D1-D204-16F8-09E9A5F8FA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FCFC50B2-4DFC-B9D9-CC6F-E968778F86F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AAD5B6C7-E3B4-F2CE-E511-3E4BA76D463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5DA9B301-0099-95FB-0395-844DFE6FD9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C6CB26B4-8C21-B847-CF85-B4E09817ED8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4CE0CB11-E9EC-4A09-667C-5C3D7393AE1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D468B49D-22A1-F5D7-7828-EB5BFA6A61A2}"/>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98DEAEAA-439F-C8DC-A5A3-22B0070B094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67B60569-376C-9039-BDA9-29E4700EB64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D4290E9C-281B-17C6-243E-61F1CC08DF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D8419C45-45DA-F360-B612-F12135AC9C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DB2F9765-5CF3-AB20-73F5-8F9B20CA329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769DAFCD-D437-FA01-E69E-547D2224F3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5990AC27-D23F-3A0B-556A-14CC63EEC4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1BB62BF3-1851-66A7-3D43-F2BAD06A96C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0FD73C32-21BE-DDF2-C347-85751918F12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A710A70B-4807-FDC7-BF8C-703EF9C2ED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8150BD9F-62DF-DF6F-11A0-D6F299B10817}"/>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61032B1D-C8E7-81E8-CF06-FA34A1FB24B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7C38A107-A846-D38D-16C1-F15B145AE51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201D96F7-8834-EDC0-6D22-04C464B5062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2E5A3F2E-CC07-D9E2-4D90-139DE5EDAC8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F9A95961-02F5-DFF9-36D6-B71AC7B99A4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911E59D8-E3DC-F555-F6F4-5AE2D926609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EE96CFDB-4882-0A22-83F0-817A330933F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BCCEA38E-21E4-EEBB-380B-76DAB8118E2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4294B0A0-9312-E8A0-817E-85F9CF48FA0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B80E2EF1-AFBA-F8C9-B394-8148A5F5161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305AA3CE-5FBA-960C-333B-8F1C263AB24B}"/>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D997C387-75B0-6164-FA55-ED0622DBA05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9936D2C2-E66F-4C1D-9BE3-19F092E4C39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67346757-128B-DEF9-32A3-4D4321F6BD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F3AB0AD0-7AC7-B6DB-CA0B-8EC057952AC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4FFB648A-757D-9AFD-E47D-A16A252BEEB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0C004B3C-BA33-AEE0-BC65-0B7C61AFBA0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E534C50E-6FA3-A1FF-B17D-6B4B641F38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4BECB745-7445-7BC5-F6D1-C27B079B758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87911B67-C030-D10D-B883-6A9AD2F5462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58929695-25A9-E3CF-5056-3D0F206B9D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54C6FF81-F521-4B4F-AFD3-A71C00959286}"/>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B0479CAC-F795-592D-AD7C-DD235BE6AFF3}"/>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F357A24F-8DA5-369C-9617-895098F9A09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ED583577-C975-BD81-213C-7FBBC396F6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66EC8178-64F6-CF23-285F-D0A18BD92CF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DC9242EB-A997-9889-DB69-78EACC4E229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040C0E6D-EB68-D5E9-747D-670899E4AF6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2E45D721-000D-8F18-733C-7A8780895D3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CA4B82E5-B767-A68F-BC97-5F15E22730A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4700135D-282E-978C-AB27-AC36BCE29A6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8BF2DB26-4DC2-67C9-ACC7-BB54BE0675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734462B2-0EE0-6733-721C-2F639E5DE32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3303FC57-5E03-CD2F-3CBE-5F65AD09B1C9}"/>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3E2F454A-A82A-2F18-3EFB-835F8430BF0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0C3A4556-06B4-7F64-99EF-38498EF48E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C08B6D2A-5B27-0302-9E75-6C6314FFB4D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2A30650F-2CCF-10AB-BDE3-D14F151D5BA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0CB0F8FA-C9EB-C2F8-E820-F5ABA825985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E1C43C5B-8A7D-3013-C555-BC492370DE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DF949A00-8D1E-431C-EB98-4F1F78A00F9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D9BCE667-7D60-B956-723F-C5F7B1C9673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6886B4E1-B0D7-D584-E548-F6794547C68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B654F27A-1DC5-B76C-3E8B-025DC671E53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D11AE322-B652-CC2E-D0A7-E52B8CE7F409}"/>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87591323-E9F0-1CFA-934C-D1366DA403E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62D25D2E-576D-C2E8-75F5-F3891068EC6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A622730-8E12-DBB5-D071-541A1A4F202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A245B8DD-E8C9-C571-4B77-19F125778BE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AAAB5890-7094-C590-8361-C22B792B2B3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A110EBE5-C23F-1808-21DC-DCFEB2E6AC9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55E51C7F-DA67-2474-A80B-BB375E892BE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E92E770E-5534-7EA4-2521-B67FF0DAE26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6B25A9F2-5500-A6EE-F13E-5135DFE3F9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4F263AB9-FF65-CB55-42D4-2BB880025A5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95E046AB-CA2F-AA61-7C7C-204BCAEA529C}"/>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DA5F5131-3232-8214-DDC5-3272950BB0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E0FC2E10-FC58-C1C0-2904-C08298BB6E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6A38E0CA-801D-1D15-9E6A-CCE0C726F05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7C3F20D9-4142-A0CA-A177-3E66C2C0A46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88D4E92C-C5DF-A83A-0953-340FC4FA2C9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C9E550D3-8EEC-4A47-BACF-E1934E9D2CB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5EC86089-A5D9-4ABA-0EA5-1CE3AD6061D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5553D30C-10D0-7260-8100-25A58114A9D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47320F61-213F-A53C-53C3-0279BD00779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4B67A742-F532-103A-0706-46EEEB8DDC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4" name="Rectangle 223">
            <a:extLst>
              <a:ext uri="{FF2B5EF4-FFF2-40B4-BE49-F238E27FC236}">
                <a16:creationId xmlns:a16="http://schemas.microsoft.com/office/drawing/2014/main" id="{DC81D0C3-4ABE-D2B0-746E-6DEFB7BB8281}"/>
              </a:ext>
            </a:extLst>
          </p:cNvPr>
          <p:cNvSpPr/>
          <p:nvPr/>
        </p:nvSpPr>
        <p:spPr>
          <a:xfrm>
            <a:off x="609595" y="348863"/>
            <a:ext cx="8202438"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Applications:</a:t>
            </a:r>
          </a:p>
        </p:txBody>
      </p:sp>
      <p:graphicFrame>
        <p:nvGraphicFramePr>
          <p:cNvPr id="230" name="Diagram 229">
            <a:extLst>
              <a:ext uri="{FF2B5EF4-FFF2-40B4-BE49-F238E27FC236}">
                <a16:creationId xmlns:a16="http://schemas.microsoft.com/office/drawing/2014/main" id="{7902B645-DB69-4344-7BCD-9C956DF11B30}"/>
              </a:ext>
            </a:extLst>
          </p:cNvPr>
          <p:cNvGraphicFramePr/>
          <p:nvPr>
            <p:extLst>
              <p:ext uri="{D42A27DB-BD31-4B8C-83A1-F6EECF244321}">
                <p14:modId xmlns:p14="http://schemas.microsoft.com/office/powerpoint/2010/main" val="2341783577"/>
              </p:ext>
            </p:extLst>
          </p:nvPr>
        </p:nvGraphicFramePr>
        <p:xfrm>
          <a:off x="1198399" y="1467167"/>
          <a:ext cx="9338055" cy="550689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31" name="Group 230">
            <a:extLst>
              <a:ext uri="{FF2B5EF4-FFF2-40B4-BE49-F238E27FC236}">
                <a16:creationId xmlns:a16="http://schemas.microsoft.com/office/drawing/2014/main" id="{03C77CAD-B172-4B93-2D11-73C2C8CEB15B}"/>
              </a:ext>
            </a:extLst>
          </p:cNvPr>
          <p:cNvGrpSpPr/>
          <p:nvPr/>
        </p:nvGrpSpPr>
        <p:grpSpPr>
          <a:xfrm>
            <a:off x="5936736" y="6138978"/>
            <a:ext cx="2875297" cy="901241"/>
            <a:chOff x="533107" y="1693539"/>
            <a:chExt cx="2291059" cy="901241"/>
          </a:xfrm>
        </p:grpSpPr>
        <p:sp>
          <p:nvSpPr>
            <p:cNvPr id="232" name="Rectangle 231">
              <a:extLst>
                <a:ext uri="{FF2B5EF4-FFF2-40B4-BE49-F238E27FC236}">
                  <a16:creationId xmlns:a16="http://schemas.microsoft.com/office/drawing/2014/main" id="{DFC9536F-7102-48DF-B24B-68254CA14105}"/>
                </a:ext>
              </a:extLst>
            </p:cNvPr>
            <p:cNvSpPr/>
            <p:nvPr/>
          </p:nvSpPr>
          <p:spPr>
            <a:xfrm>
              <a:off x="533107" y="1744797"/>
              <a:ext cx="2291059" cy="84998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3" name="TextBox 232">
              <a:extLst>
                <a:ext uri="{FF2B5EF4-FFF2-40B4-BE49-F238E27FC236}">
                  <a16:creationId xmlns:a16="http://schemas.microsoft.com/office/drawing/2014/main" id="{37382D22-24C0-6B09-32F6-7422B2E9809B}"/>
                </a:ext>
              </a:extLst>
            </p:cNvPr>
            <p:cNvSpPr txBox="1"/>
            <p:nvPr/>
          </p:nvSpPr>
          <p:spPr>
            <a:xfrm>
              <a:off x="533107" y="1693539"/>
              <a:ext cx="2291059" cy="84998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Signal Processing</a:t>
              </a:r>
            </a:p>
          </p:txBody>
        </p:sp>
      </p:grpSp>
    </p:spTree>
    <p:extLst>
      <p:ext uri="{BB962C8B-B14F-4D97-AF65-F5344CB8AC3E}">
        <p14:creationId xmlns:p14="http://schemas.microsoft.com/office/powerpoint/2010/main" val="940131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0">
                                            <p:graphicEl>
                                              <a:dgm id="{CC2DB00F-C6D6-472D-B587-7FB35B4967C3}"/>
                                            </p:graphicEl>
                                          </p:spTgt>
                                        </p:tgtEl>
                                        <p:attrNameLst>
                                          <p:attrName>style.visibility</p:attrName>
                                        </p:attrNameLst>
                                      </p:cBhvr>
                                      <p:to>
                                        <p:strVal val="visible"/>
                                      </p:to>
                                    </p:set>
                                    <p:animEffect transition="in" filter="fade">
                                      <p:cBhvr>
                                        <p:cTn id="7" dur="500"/>
                                        <p:tgtEl>
                                          <p:spTgt spid="230">
                                            <p:graphicEl>
                                              <a:dgm id="{CC2DB00F-C6D6-472D-B587-7FB35B4967C3}"/>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0">
                                            <p:graphicEl>
                                              <a:dgm id="{90E50430-8C4F-461F-972C-F12F25DF9E44}"/>
                                            </p:graphicEl>
                                          </p:spTgt>
                                        </p:tgtEl>
                                        <p:attrNameLst>
                                          <p:attrName>style.visibility</p:attrName>
                                        </p:attrNameLst>
                                      </p:cBhvr>
                                      <p:to>
                                        <p:strVal val="visible"/>
                                      </p:to>
                                    </p:set>
                                    <p:animEffect transition="in" filter="fade">
                                      <p:cBhvr>
                                        <p:cTn id="10" dur="500"/>
                                        <p:tgtEl>
                                          <p:spTgt spid="230">
                                            <p:graphicEl>
                                              <a:dgm id="{90E50430-8C4F-461F-972C-F12F25DF9E44}"/>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0">
                                            <p:graphicEl>
                                              <a:dgm id="{E4A5238C-CAAE-4A17-951B-C54235E80CAF}"/>
                                            </p:graphicEl>
                                          </p:spTgt>
                                        </p:tgtEl>
                                        <p:attrNameLst>
                                          <p:attrName>style.visibility</p:attrName>
                                        </p:attrNameLst>
                                      </p:cBhvr>
                                      <p:to>
                                        <p:strVal val="visible"/>
                                      </p:to>
                                    </p:set>
                                    <p:animEffect transition="in" filter="fade">
                                      <p:cBhvr>
                                        <p:cTn id="15" dur="500"/>
                                        <p:tgtEl>
                                          <p:spTgt spid="230">
                                            <p:graphicEl>
                                              <a:dgm id="{E4A5238C-CAAE-4A17-951B-C54235E80CAF}"/>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0">
                                            <p:graphicEl>
                                              <a:dgm id="{E9228C75-0D08-47A7-85A9-84CFB2650F23}"/>
                                            </p:graphicEl>
                                          </p:spTgt>
                                        </p:tgtEl>
                                        <p:attrNameLst>
                                          <p:attrName>style.visibility</p:attrName>
                                        </p:attrNameLst>
                                      </p:cBhvr>
                                      <p:to>
                                        <p:strVal val="visible"/>
                                      </p:to>
                                    </p:set>
                                    <p:animEffect transition="in" filter="fade">
                                      <p:cBhvr>
                                        <p:cTn id="18" dur="500"/>
                                        <p:tgtEl>
                                          <p:spTgt spid="230">
                                            <p:graphicEl>
                                              <a:dgm id="{E9228C75-0D08-47A7-85A9-84CFB2650F23}"/>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0">
                                            <p:graphicEl>
                                              <a:dgm id="{5547CE53-8565-4505-ABAE-D18217E53DE6}"/>
                                            </p:graphicEl>
                                          </p:spTgt>
                                        </p:tgtEl>
                                        <p:attrNameLst>
                                          <p:attrName>style.visibility</p:attrName>
                                        </p:attrNameLst>
                                      </p:cBhvr>
                                      <p:to>
                                        <p:strVal val="visible"/>
                                      </p:to>
                                    </p:set>
                                    <p:animEffect transition="in" filter="fade">
                                      <p:cBhvr>
                                        <p:cTn id="23" dur="500"/>
                                        <p:tgtEl>
                                          <p:spTgt spid="230">
                                            <p:graphicEl>
                                              <a:dgm id="{5547CE53-8565-4505-ABAE-D18217E53DE6}"/>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0">
                                            <p:graphicEl>
                                              <a:dgm id="{7D51C66E-4AF5-4BF5-8760-A74E2A8104A3}"/>
                                            </p:graphicEl>
                                          </p:spTgt>
                                        </p:tgtEl>
                                        <p:attrNameLst>
                                          <p:attrName>style.visibility</p:attrName>
                                        </p:attrNameLst>
                                      </p:cBhvr>
                                      <p:to>
                                        <p:strVal val="visible"/>
                                      </p:to>
                                    </p:set>
                                    <p:animEffect transition="in" filter="fade">
                                      <p:cBhvr>
                                        <p:cTn id="26" dur="500"/>
                                        <p:tgtEl>
                                          <p:spTgt spid="230">
                                            <p:graphicEl>
                                              <a:dgm id="{7D51C66E-4AF5-4BF5-8760-A74E2A8104A3}"/>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30">
                                            <p:graphicEl>
                                              <a:dgm id="{309C60D7-B742-4883-9048-6225BC27FA7A}"/>
                                            </p:graphicEl>
                                          </p:spTgt>
                                        </p:tgtEl>
                                        <p:attrNameLst>
                                          <p:attrName>style.visibility</p:attrName>
                                        </p:attrNameLst>
                                      </p:cBhvr>
                                      <p:to>
                                        <p:strVal val="visible"/>
                                      </p:to>
                                    </p:set>
                                    <p:animEffect transition="in" filter="fade">
                                      <p:cBhvr>
                                        <p:cTn id="31" dur="500"/>
                                        <p:tgtEl>
                                          <p:spTgt spid="230">
                                            <p:graphicEl>
                                              <a:dgm id="{309C60D7-B742-4883-9048-6225BC27FA7A}"/>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0">
                                            <p:graphicEl>
                                              <a:dgm id="{9E0C2835-54DB-4E25-A100-FDE33EFFA940}"/>
                                            </p:graphicEl>
                                          </p:spTgt>
                                        </p:tgtEl>
                                        <p:attrNameLst>
                                          <p:attrName>style.visibility</p:attrName>
                                        </p:attrNameLst>
                                      </p:cBhvr>
                                      <p:to>
                                        <p:strVal val="visible"/>
                                      </p:to>
                                    </p:set>
                                    <p:animEffect transition="in" filter="fade">
                                      <p:cBhvr>
                                        <p:cTn id="34" dur="500"/>
                                        <p:tgtEl>
                                          <p:spTgt spid="230">
                                            <p:graphicEl>
                                              <a:dgm id="{9E0C2835-54DB-4E25-A100-FDE33EFFA940}"/>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30">
                                            <p:graphicEl>
                                              <a:dgm id="{7F56166F-B35F-499D-9EAD-C3E28542FCBD}"/>
                                            </p:graphicEl>
                                          </p:spTgt>
                                        </p:tgtEl>
                                        <p:attrNameLst>
                                          <p:attrName>style.visibility</p:attrName>
                                        </p:attrNameLst>
                                      </p:cBhvr>
                                      <p:to>
                                        <p:strVal val="visible"/>
                                      </p:to>
                                    </p:set>
                                    <p:animEffect transition="in" filter="fade">
                                      <p:cBhvr>
                                        <p:cTn id="39" dur="500"/>
                                        <p:tgtEl>
                                          <p:spTgt spid="230">
                                            <p:graphicEl>
                                              <a:dgm id="{7F56166F-B35F-499D-9EAD-C3E28542FCBD}"/>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0">
                                            <p:graphicEl>
                                              <a:dgm id="{60C6334F-F70B-482F-A569-5377EECF968E}"/>
                                            </p:graphicEl>
                                          </p:spTgt>
                                        </p:tgtEl>
                                        <p:attrNameLst>
                                          <p:attrName>style.visibility</p:attrName>
                                        </p:attrNameLst>
                                      </p:cBhvr>
                                      <p:to>
                                        <p:strVal val="visible"/>
                                      </p:to>
                                    </p:set>
                                    <p:animEffect transition="in" filter="fade">
                                      <p:cBhvr>
                                        <p:cTn id="42" dur="500"/>
                                        <p:tgtEl>
                                          <p:spTgt spid="230">
                                            <p:graphicEl>
                                              <a:dgm id="{60C6334F-F70B-482F-A569-5377EECF968E}"/>
                                            </p:graphic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231"/>
                                        </p:tgtEl>
                                        <p:attrNameLst>
                                          <p:attrName>style.visibility</p:attrName>
                                        </p:attrNameLst>
                                      </p:cBhvr>
                                      <p:to>
                                        <p:strVal val="visible"/>
                                      </p:to>
                                    </p:set>
                                    <p:animEffect transition="in" filter="fade">
                                      <p:cBhvr>
                                        <p:cTn id="45" dur="500"/>
                                        <p:tgtEl>
                                          <p:spTgt spid="2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0"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34CCF-30B9-2173-A661-7A0E35F0F660}"/>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89C181A7-F536-9F0B-9D33-91779AEF88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DDA70D40-699B-9877-1650-88A15A6B551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8BEBACAD-9E75-5AF0-1F0D-A256071B0124}"/>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5FAEEAE3-78DF-AAE1-4F85-11D3F24586CE}"/>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0F919F9D-5334-C883-87FD-02633AE55094}"/>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6AAEC2E8-31A5-8B06-A521-B6C0AFAB45A4}"/>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B1B38A6D-BC3C-AE6D-5455-AD360DE8F36E}"/>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2D77001F-6CC8-1430-305B-F821156CD7D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2" name="Oval 231">
            <a:extLst>
              <a:ext uri="{FF2B5EF4-FFF2-40B4-BE49-F238E27FC236}">
                <a16:creationId xmlns:a16="http://schemas.microsoft.com/office/drawing/2014/main" id="{3A1CA5EF-E19C-2F7A-9E53-272C2F4D5E4B}"/>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4C4B9B0C-4DF0-E9BB-49EC-D9C5DA47C440}"/>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6032A954-B057-8ABA-C582-2107DB010681}"/>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98DCDD3B-EF30-28FF-A00F-FD8F7DCE722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BAF71D1B-67FF-32BE-35EB-7942F26B201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CB9B71E8-73D3-DF10-26C8-99F0D3306AA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43275224-FAB2-A27E-0571-B1A2E6E1650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CBDFFB54-5EB4-B6E3-E59E-3127DA2576B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8376E838-27A1-D5F8-3371-434E016554B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0906443B-D28F-AC75-7D65-414D84A57C6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49FB60F7-AAE5-D36F-C045-39AC21A901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5A7D46D4-AF1D-0A7E-8353-DB5318BCC82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4A4228E8-8020-81AC-DB66-756C35B0740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2108329A-D983-BE78-FD78-E402422F2FFE}"/>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C85B0BA1-F671-53D6-6BB5-6098BA9942F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3C9E5AD-2A28-04E0-5D7A-62696B9E74B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9640D5FF-0F64-F6E1-524A-E8D410C309B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C0B3717-E114-793E-0BAE-10C999216A1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8303B044-416E-7BC0-41D1-1632FC23F69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AA1EEBC7-4427-2ABF-71AB-41B9E604ED4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DBC41BA0-71B9-10D7-4E75-6BF42437FD0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B3BA7023-DC0B-1D74-C7B4-C7560B2EA63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76F3C435-4D3B-8549-6C5F-DEA04F3EA9B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915E1C84-BB5A-60F0-55F0-6A499072BEA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37D4C11F-DFA5-1F3A-DC53-E40D34DFB7D4}"/>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320A31FC-36B8-0AE9-8C93-93FB78D1959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F5A221B1-8762-1F25-CE07-721E39987D4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3E1E41E-5342-FAC2-AC9A-4D0D36D46A8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BC1A1E80-0D74-61E1-5B95-FB2770C155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74FE13B1-8E1E-447B-EF95-7971DAFB480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A30624B-F547-50EF-B5F4-EE460EDD9F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7D4426C-D7CA-AD07-15FF-44D8AFB5009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3C8CB823-C5D4-64E5-6641-DBA23AF9A1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7AC11E9A-B1D7-37A5-D0AC-ADDDCF9650D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4C3E014E-35A8-85FB-DAD5-A55EE512B9F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E7C1D80A-7CA6-52AB-9153-275D36851E5C}"/>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FFA46F5A-111F-614A-B7EC-9676E67C6AC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2CEE4BA-CB3E-D54D-8F09-CC84AB07F14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11496A6-7C08-95F3-4340-7DB337E660C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10D8718-0500-2E56-74A1-8429911F653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B776C29-296A-59A2-F5E1-BFADA6ACBDA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91A91428-7F0A-D115-8DED-6571B1C0579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98BA366-C580-E4E4-07EF-7977D50BD5E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315E39A-934F-3AB7-1C10-F6256E1580F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DD4B564-B390-6A63-C264-EF2BB869BD9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D74F286-C5B7-E13D-B06F-F3FC19C41FC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E504D193-00AC-F2D2-A89F-802FBC25B227}"/>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B7F60D0D-E587-F055-5E6C-5AE8447315F1}"/>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765E74D7-F186-773D-F0D7-C18EAFDA51A7}"/>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415279EB-A20D-D2A7-AB42-EDB7CA86F6AB}"/>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C8C61B69-725E-D8A0-2485-786D6EC7C049}"/>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40FEAC2A-4328-DF21-033F-ABE66C21E334}"/>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0005D80E-CD49-2ADB-992E-2C2B22EBA83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855C3C98-CEC6-648C-C7B7-ABF7CBCD064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EB69676A-9989-0BE0-0CF2-22B1A558D51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2EE4FBE5-CDDE-3156-9F5F-61E8A6A71AD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32FFF67E-9BD8-5EB9-8854-2D8DE81799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3B189DE9-8A20-D456-8972-652BE1D4A79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5D61C358-2C39-FDEE-4359-4453EBA6F23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708972CF-5455-0B8E-7FAE-B2072C737C7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71AF1317-497F-0775-6536-AC558962EA4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D0DF924A-0093-F308-3192-A8F2CD41C1F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B113A31F-75F6-B67C-6B5F-1F76C1E1E542}"/>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49F1C545-39F7-DEEA-CD38-1C0DB3EF58F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D9A4A0BE-0915-B8B9-DF60-B3556BD689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BC7B8583-7C8C-D2E5-A76C-11C68A406D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71EEA2FD-D498-A32A-3B27-2BD0D289A7C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3FF6A677-E850-3F0B-61F0-42F7F65B7D8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4476A635-E794-D2BE-6CF2-810C235BBA0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6FDA7B75-E136-3564-7C8B-CF9ECC07C04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B4783DBC-81D0-73AF-D463-3648E965CF9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F1A45F83-06FD-A6F0-C972-3642E0EF083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DAD1FACB-C1A0-5FCD-D9CB-FB1D8B8129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47E4B8F8-9934-F203-6DF2-48C67A10FBDB}"/>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3FF31D28-1ABE-0856-6656-41837D4C02F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32CB5E6B-813C-BDDB-E244-0349FB4666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5AF75185-1F68-DADB-2C7E-F55557484C0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A693E095-76BC-90E0-3630-BE3E7A6CF9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9D9F9882-4B3B-FF54-146A-F4ACF37883C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C4268BCC-D283-1C63-686A-F92B97E0A91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B124CAA3-997B-38F6-682F-2FEE4AFEE65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58D2D9E7-5E65-CDED-33AD-F949D19EA07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BBF8357F-866A-5068-1327-05C3FCD3F79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6525E65A-CE7F-2992-2D8F-C49ABDB1126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1303DE19-CCAF-4396-6F72-841A3F194B42}"/>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A8532B86-A0A9-F2EC-C658-9A2D216028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43D808AA-E4B8-B102-33BD-B8351614AA4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A041E9E1-BEC3-C342-996C-31071461507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C03D428D-2135-44C2-990A-3941136BC5F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1E1FA5AB-AE71-640E-FDF6-C416F6A27D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55A4E759-4A1D-633C-3EFE-743A8E97CF4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F3070041-03DA-AE37-D23F-176184BCFFE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09384E84-31F8-E59C-95AD-4FC01743D7B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1DF7EF5E-7FF2-ED16-73A8-080DC1A82E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A49D5C2A-537B-10FE-C7AB-D74C43980E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168AD083-8985-5DE2-D412-0B6355F57883}"/>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95BE6589-2E67-7D1B-E72B-93BB2A669F0B}"/>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D1782A13-CB84-2D44-E7D4-F9F69DDC5DE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DE64FD1D-E46C-9C6C-F7EE-3FC6F664F83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DB2C8761-5EDF-0C51-D406-2AEA919D0CF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CB6B4594-1D60-89B7-47E2-ADAA58924C1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28EF0728-9266-33F5-AEC2-8F257E39E93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70BFA8EA-70BF-DBCD-77AA-5582543375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4C36416F-BC49-2443-287A-8382C8E1C59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68B38FAA-A46E-8C6E-BE9D-A07A06F579F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0F11AB2A-F12C-983E-331B-C67F00C9A70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3E34C7AE-021E-67E4-FB09-809B60B644E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07AC5DEA-BC9C-6A7F-7094-4A5CC2FB597C}"/>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D5EEB156-2952-677D-DEAD-172F44400B5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AFCB98A0-8601-9ED7-0822-8F1AFFDF32E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66545728-802A-4A9F-599D-1A223BACEBC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AD0AEEEB-5192-1A6A-4319-CE420C7EFF7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85067521-D8D5-ADF3-1CCE-EAADC99032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7B152252-3D7B-447A-1BAD-793258D9E6A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9D79AEBE-433B-AFAF-A137-E7E8F57CF44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ED4FC1A1-2A79-72DC-8ACD-92B666FA655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462F0E09-4DF5-6F30-EF5F-ED0E8409B2F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F7231A52-F826-4178-5EE6-02168461CF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7C9469BA-0C7E-C07C-B70D-A5308B582816}"/>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F8F9DDAA-51C2-A4C6-CE0A-9096D4EF876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12CBBDE6-114D-437E-586E-EB5D9E26B2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A558D5A5-DD78-247E-54B7-560A5915687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C9CBD96E-70EC-8846-3528-F896A052B85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60E50582-3852-8C39-9DA1-89EBCDBF876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0211DF15-252B-8B89-5B48-245BBE9BF6D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237016D4-E5BF-5479-79E1-4A5E1C2D5E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D8E737B9-2F5B-2D4A-3D6B-7396EFA1E66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EF28B4F6-200C-BACE-DC59-00A5C1FE343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8591DC48-7D88-AD01-DE2F-7A94C8D2A21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FD23C38E-4196-38A6-D37B-1D4208E74FD2}"/>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255BA14E-A3CF-4E78-4D9D-D43EE99BBC5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99988A38-120E-82D7-7D3F-55A6232C2E1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74972DF6-4F7C-62EF-F4F6-E05726A380D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3FA58D77-D2C2-4168-14F9-C9BADD0776A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98DF33FA-F5B4-5071-AFB8-52EA405CCE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112B7F45-E355-2B04-7712-0841D4C238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3B156A11-E343-C944-857C-8DDAC466E70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FB6CB2EC-7AB1-70D1-F8F8-5FA8BC64F85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38470A27-C811-0387-9E6F-189364BCB18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D7CB6A51-064C-2F26-4FBE-2120C8B6299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1DFB4124-EA61-CCBC-F567-A4A27567C0D5}"/>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BDF06346-FD86-FCAA-A134-9BCCE52DDFBE}"/>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C1CDDB96-7F4F-08FD-D909-D866DC031FD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0BFF3DC2-9EF8-0A32-8BCC-3A82E329FB2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8FA19F85-A2A3-A1D0-D61B-92FB4774438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9AEDCBC4-D831-7925-C979-3D268DD839E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07544499-C616-FA6D-0356-14A885AB2B2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EA180E37-21CA-2DD3-0176-731C4C067DD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1BE0CA4C-BA88-4D5B-EE1A-C7DCEE89074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3EFFA0E8-3F7A-E207-C81F-34B280D119B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463F8F9C-4E52-0370-14F6-9FF3E69FF04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DCEB1AE0-E33B-DCFC-882E-D67B2642CB7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76A5785B-9514-0BEC-E738-CED9B1C79F60}"/>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9ED62956-DBFE-0044-86DF-171F995C1E6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1DA069E3-07B2-3DB7-7551-B954D1D296E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1C70EA2D-984D-7DFD-D233-4142F36FB4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5F6EB20A-CE36-C056-6459-3F499E11FB3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0672C089-239A-25F3-2CEF-C5C354D3FDD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2B29168E-72CC-1BD4-3F8B-D6473A18598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E29C058D-E0E3-BDEF-185A-E7E9E37BCCD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0930A6F-283B-4C00-14B7-8B30240C2D0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0CA438BD-C566-8366-DCD1-6722C246B97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86E0B348-CEBB-7FD6-6557-CDFEB5128E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A918ADF8-5404-B7C2-CB89-0D703465BAFD}"/>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DC77C48A-F67E-417C-31E6-A69E1377735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4A61D8EB-7BBB-5A82-F82A-C97ED394EEF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9F57D752-E94C-9E52-D4C3-A84CCC36AF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A0A27BF9-53D7-DF06-55C0-3713C121BA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1F707E18-77C5-59BC-3EBC-904ABAE635E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23D530B7-9154-34B5-6EFF-D0AE5FD23F4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67085316-7EDB-8BDB-F686-BE82B19EFA2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FB754244-B772-FDB7-F2C5-DA54E14AAE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E71E8C07-853F-7003-C11C-CF7875BAA0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C1E8D908-C1F7-C339-BB7D-DF36D4288C8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3E827150-7BD4-CA9D-D338-9231C3533CAF}"/>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F6D1740C-0C97-6DEB-24DE-F665FB5AC6E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BE9B65C8-4A77-6E30-B03C-E964302BCF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619FE41E-EACB-E46C-246A-84078DEC12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4146456D-2909-D99E-7AB9-C89D24030DD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2142C8F2-DC0B-C2DE-8F36-04A91C46FBE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123A11FC-0F70-FA8E-60C5-A5B5E67A83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59C6D8F3-6F92-5C81-20A9-AF909D75D6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B24AC730-8FE7-CA1D-0EB1-70C2E481509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2B0436FE-332F-9660-2202-5EDB884B234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6C6BCE59-B781-F83E-11ED-6424EA1B05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24" name="Picture 223">
            <a:extLst>
              <a:ext uri="{FF2B5EF4-FFF2-40B4-BE49-F238E27FC236}">
                <a16:creationId xmlns:a16="http://schemas.microsoft.com/office/drawing/2014/main" id="{86FA20D9-2DBB-1F00-D30F-AF24397E0481}"/>
              </a:ext>
            </a:extLst>
          </p:cNvPr>
          <p:cNvPicPr>
            <a:picLocks noChangeAspect="1"/>
          </p:cNvPicPr>
          <p:nvPr/>
        </p:nvPicPr>
        <p:blipFill rotWithShape="1">
          <a:blip r:embed="rId8">
            <a:extLst>
              <a:ext uri="{28A0092B-C50C-407E-A947-70E740481C1C}">
                <a14:useLocalDpi xmlns:a14="http://schemas.microsoft.com/office/drawing/2010/main" val="0"/>
              </a:ext>
            </a:extLst>
          </a:blip>
          <a:srcRect l="7450" t="29835" r="17104" b="11699"/>
          <a:stretch/>
        </p:blipFill>
        <p:spPr>
          <a:xfrm>
            <a:off x="5920176" y="1160927"/>
            <a:ext cx="6247217" cy="3632904"/>
          </a:xfrm>
          <a:prstGeom prst="rect">
            <a:avLst/>
          </a:prstGeom>
        </p:spPr>
      </p:pic>
      <p:sp>
        <p:nvSpPr>
          <p:cNvPr id="225" name="Rectangle 224">
            <a:extLst>
              <a:ext uri="{FF2B5EF4-FFF2-40B4-BE49-F238E27FC236}">
                <a16:creationId xmlns:a16="http://schemas.microsoft.com/office/drawing/2014/main" id="{04060807-6315-DF6D-FC6C-63D85120680C}"/>
              </a:ext>
            </a:extLst>
          </p:cNvPr>
          <p:cNvSpPr/>
          <p:nvPr/>
        </p:nvSpPr>
        <p:spPr>
          <a:xfrm>
            <a:off x="609595" y="348863"/>
            <a:ext cx="8202438"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Applications:</a:t>
            </a:r>
          </a:p>
        </p:txBody>
      </p:sp>
      <p:sp>
        <p:nvSpPr>
          <p:cNvPr id="226" name="Rectangle 225">
            <a:extLst>
              <a:ext uri="{FF2B5EF4-FFF2-40B4-BE49-F238E27FC236}">
                <a16:creationId xmlns:a16="http://schemas.microsoft.com/office/drawing/2014/main" id="{F4207A62-9CC6-FCD5-715E-550C8127D455}"/>
              </a:ext>
            </a:extLst>
          </p:cNvPr>
          <p:cNvSpPr/>
          <p:nvPr/>
        </p:nvSpPr>
        <p:spPr>
          <a:xfrm>
            <a:off x="1380806" y="1102288"/>
            <a:ext cx="4602414" cy="646331"/>
          </a:xfrm>
          <a:prstGeom prst="rect">
            <a:avLst/>
          </a:prstGeom>
          <a:noFill/>
        </p:spPr>
        <p:txBody>
          <a:bodyPr wrap="none" lIns="91440" tIns="45720" rIns="91440" bIns="45720">
            <a:spAutoFit/>
          </a:bodyPr>
          <a:lstStyle/>
          <a:p>
            <a:pPr algn="ctr"/>
            <a:r>
              <a:rPr lang="en-US" sz="3600" b="1" i="1" spc="50" dirty="0">
                <a:ln w="9525" cmpd="sng">
                  <a:solidFill>
                    <a:schemeClr val="accent1"/>
                  </a:solidFill>
                  <a:prstDash val="solid"/>
                </a:ln>
                <a:solidFill>
                  <a:srgbClr val="168DA5"/>
                </a:solidFill>
                <a:effectLst>
                  <a:glow rad="38100">
                    <a:schemeClr val="accent1">
                      <a:alpha val="40000"/>
                    </a:schemeClr>
                  </a:glow>
                </a:effectLst>
              </a:rPr>
              <a:t>Speech Recognition:</a:t>
            </a:r>
            <a:endParaRPr lang="en-US" sz="3600" b="1" i="1" cap="none" spc="50" dirty="0">
              <a:ln w="9525" cmpd="sng">
                <a:solidFill>
                  <a:schemeClr val="accent1"/>
                </a:solidFill>
                <a:prstDash val="solid"/>
              </a:ln>
              <a:solidFill>
                <a:srgbClr val="168DA5"/>
              </a:solidFill>
              <a:effectLst>
                <a:glow rad="38100">
                  <a:schemeClr val="accent1">
                    <a:alpha val="40000"/>
                  </a:schemeClr>
                </a:glow>
              </a:effectLst>
            </a:endParaRPr>
          </a:p>
        </p:txBody>
      </p:sp>
      <p:sp>
        <p:nvSpPr>
          <p:cNvPr id="228" name="Rectangle 227">
            <a:extLst>
              <a:ext uri="{FF2B5EF4-FFF2-40B4-BE49-F238E27FC236}">
                <a16:creationId xmlns:a16="http://schemas.microsoft.com/office/drawing/2014/main" id="{BD385D57-EA40-6352-573F-B0F0515CFD58}"/>
              </a:ext>
            </a:extLst>
          </p:cNvPr>
          <p:cNvSpPr/>
          <p:nvPr/>
        </p:nvSpPr>
        <p:spPr>
          <a:xfrm>
            <a:off x="1451069" y="1802795"/>
            <a:ext cx="6330626" cy="3139321"/>
          </a:xfrm>
          <a:prstGeom prst="rect">
            <a:avLst/>
          </a:prstGeom>
          <a:noFill/>
        </p:spPr>
        <p:txBody>
          <a:bodyPr wrap="square" lIns="91440" tIns="45720" rIns="91440" bIns="45720">
            <a:spAutoFit/>
          </a:bodyPr>
          <a:lstStyle/>
          <a:p>
            <a:pPr marL="285750" indent="-285750">
              <a:buFont typeface="Wingdings" panose="05000000000000000000" pitchFamily="2" charset="2"/>
              <a:buChar char="ü"/>
            </a:pPr>
            <a:r>
              <a:rPr lang="en-US" dirty="0">
                <a:solidFill>
                  <a:schemeClr val="bg1"/>
                </a:solidFill>
                <a:latin typeface="Segoe UI" panose="020B0502040204020203" pitchFamily="34" charset="0"/>
                <a:ea typeface="Calibri" panose="020F0502020204030204" pitchFamily="34" charset="0"/>
              </a:rPr>
              <a:t>S</a:t>
            </a:r>
            <a:r>
              <a:rPr lang="en-US" sz="1800" dirty="0">
                <a:solidFill>
                  <a:schemeClr val="bg1"/>
                </a:solidFill>
                <a:effectLst/>
                <a:latin typeface="Segoe UI" panose="020B0502040204020203" pitchFamily="34" charset="0"/>
                <a:ea typeface="Calibri" panose="020F0502020204030204" pitchFamily="34" charset="0"/>
              </a:rPr>
              <a:t>equence of observed speech vectors corresponding to a word sequence is generated by a parametric model.</a:t>
            </a:r>
          </a:p>
          <a:p>
            <a:pPr marL="285750" indent="-285750">
              <a:buFont typeface="Wingdings" panose="05000000000000000000" pitchFamily="2" charset="2"/>
              <a:buChar char="ü"/>
            </a:pPr>
            <a:endParaRPr lang="en-US" b="1" spc="50" dirty="0">
              <a:ln w="9525" cmpd="sng">
                <a:solidFill>
                  <a:schemeClr val="accent1"/>
                </a:solidFill>
                <a:prstDash val="solid"/>
              </a:ln>
              <a:solidFill>
                <a:schemeClr val="bg1"/>
              </a:solidFill>
              <a:latin typeface="Segoe UI" panose="020B0502040204020203" pitchFamily="34" charset="0"/>
            </a:endParaRPr>
          </a:p>
          <a:p>
            <a:pPr marL="285750" indent="-285750">
              <a:buFont typeface="Wingdings" panose="05000000000000000000" pitchFamily="2" charset="2"/>
              <a:buChar char="ü"/>
            </a:pPr>
            <a:r>
              <a:rPr lang="en-US" dirty="0">
                <a:solidFill>
                  <a:schemeClr val="bg1"/>
                </a:solidFill>
                <a:latin typeface="Segoe UI" panose="020B0502040204020203" pitchFamily="34" charset="0"/>
              </a:rPr>
              <a:t>The parametric model designed to capture the underlying patterns and structures in the speech signal.</a:t>
            </a:r>
          </a:p>
          <a:p>
            <a:pPr marL="285750" indent="-285750">
              <a:buFont typeface="Wingdings" panose="05000000000000000000" pitchFamily="2" charset="2"/>
              <a:buChar char="ü"/>
            </a:pPr>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r>
              <a:rPr lang="en-US" dirty="0">
                <a:solidFill>
                  <a:schemeClr val="bg1"/>
                </a:solidFill>
                <a:latin typeface="Segoe UI" panose="020B0502040204020203" pitchFamily="34" charset="0"/>
              </a:rPr>
              <a:t>Common types : HMMs and DNNs.</a:t>
            </a:r>
          </a:p>
          <a:p>
            <a:pPr marL="285750" indent="-285750">
              <a:buFont typeface="Wingdings" panose="05000000000000000000" pitchFamily="2" charset="2"/>
              <a:buChar char="ü"/>
            </a:pPr>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r>
              <a:rPr lang="en-US" dirty="0">
                <a:solidFill>
                  <a:schemeClr val="bg1"/>
                </a:solidFill>
                <a:latin typeface="Segoe UI" panose="020B0502040204020203" pitchFamily="34" charset="0"/>
              </a:rPr>
              <a:t>The choice between DNNs and HMMs depends on factors such as the available data, computational resources, and the specific requirements of the application. </a:t>
            </a:r>
          </a:p>
        </p:txBody>
      </p:sp>
    </p:spTree>
    <p:extLst>
      <p:ext uri="{BB962C8B-B14F-4D97-AF65-F5344CB8AC3E}">
        <p14:creationId xmlns:p14="http://schemas.microsoft.com/office/powerpoint/2010/main" val="378960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withEffect">
                                  <p:stCondLst>
                                    <p:cond delay="0"/>
                                  </p:stCondLst>
                                  <p:endCondLst>
                                    <p:cond evt="onNext" delay="0">
                                      <p:tgtEl>
                                        <p:sldTgt/>
                                      </p:tgtEl>
                                    </p:cond>
                                  </p:endCondLst>
                                  <p:childTnLst>
                                    <p:animRot by="120000">
                                      <p:cBhvr>
                                        <p:cTn id="6" dur="100" fill="hold">
                                          <p:stCondLst>
                                            <p:cond delay="0"/>
                                          </p:stCondLst>
                                        </p:cTn>
                                        <p:tgtEl>
                                          <p:spTgt spid="224"/>
                                        </p:tgtEl>
                                        <p:attrNameLst>
                                          <p:attrName>r</p:attrName>
                                        </p:attrNameLst>
                                      </p:cBhvr>
                                    </p:animRot>
                                    <p:animRot by="-240000">
                                      <p:cBhvr>
                                        <p:cTn id="7" dur="200" fill="hold">
                                          <p:stCondLst>
                                            <p:cond delay="200"/>
                                          </p:stCondLst>
                                        </p:cTn>
                                        <p:tgtEl>
                                          <p:spTgt spid="224"/>
                                        </p:tgtEl>
                                        <p:attrNameLst>
                                          <p:attrName>r</p:attrName>
                                        </p:attrNameLst>
                                      </p:cBhvr>
                                    </p:animRot>
                                    <p:animRot by="240000">
                                      <p:cBhvr>
                                        <p:cTn id="8" dur="200" fill="hold">
                                          <p:stCondLst>
                                            <p:cond delay="400"/>
                                          </p:stCondLst>
                                        </p:cTn>
                                        <p:tgtEl>
                                          <p:spTgt spid="224"/>
                                        </p:tgtEl>
                                        <p:attrNameLst>
                                          <p:attrName>r</p:attrName>
                                        </p:attrNameLst>
                                      </p:cBhvr>
                                    </p:animRot>
                                    <p:animRot by="-240000">
                                      <p:cBhvr>
                                        <p:cTn id="9" dur="200" fill="hold">
                                          <p:stCondLst>
                                            <p:cond delay="600"/>
                                          </p:stCondLst>
                                        </p:cTn>
                                        <p:tgtEl>
                                          <p:spTgt spid="224"/>
                                        </p:tgtEl>
                                        <p:attrNameLst>
                                          <p:attrName>r</p:attrName>
                                        </p:attrNameLst>
                                      </p:cBhvr>
                                    </p:animRot>
                                    <p:animRot by="120000">
                                      <p:cBhvr>
                                        <p:cTn id="10" dur="200" fill="hold">
                                          <p:stCondLst>
                                            <p:cond delay="800"/>
                                          </p:stCondLst>
                                        </p:cTn>
                                        <p:tgtEl>
                                          <p:spTgt spid="2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C1CA7-459B-BB17-D570-847C631FBD89}"/>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A0DBA5D5-825B-9A3B-48BB-C8E6390960A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89C181A7-F536-9F0B-9D33-91779AEF886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FF37E73D-649C-E793-B078-D507629816E7}"/>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A774FD74-024F-C863-A622-476956F5B587}"/>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AE8C5AE1-0F23-ECD6-9241-FD90853FDD10}"/>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5167E64E-0D9B-B6B3-2E15-762CE1DF352D}"/>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81F0BD8C-5FF4-EF27-817C-3119EC6DBD0B}"/>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E6B16626-1EB3-0B1D-A369-8F9073369B90}"/>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2" name="Oval 231">
            <a:extLst>
              <a:ext uri="{FF2B5EF4-FFF2-40B4-BE49-F238E27FC236}">
                <a16:creationId xmlns:a16="http://schemas.microsoft.com/office/drawing/2014/main" id="{678BA54A-9652-6C23-DF5A-37992797D361}"/>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533A0827-E18E-3408-72E3-BBD5554F4D67}"/>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C5C9AD1B-19B7-9202-AEC3-DCFC243C6217}"/>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630DA4C9-1321-9702-D377-763370D83B0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E514C8AF-AF32-EDFD-86FB-5D0B45955CE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7EF7562E-0272-DA8D-7199-52CA011532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F5874096-2B86-7031-A9C4-FDC6F461F9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BBE81DF9-6FA6-FC1A-1E10-C58388D54C3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AFC0C698-0336-C2A9-8969-DD9D424EC2A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9207F9BD-D2F1-84BF-4D6C-AFDE8F37458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88535EED-40E8-D3D3-A11F-596B384DD34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C0BB1E9D-2E28-8DD7-5DA4-E9738D554E1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1FA2657C-B27A-C9C1-0A28-91A7B6F141B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8FB456B5-018C-64BA-00B6-240082187920}"/>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9D0385FC-B03C-E027-DCF9-72EC3EFD7C9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2E5D03B-5A1A-62B2-02C5-60581B67480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AF1E0219-4B5A-E297-9950-FEFEAE0C527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F4281E5A-5DC3-58AB-89EC-30A97368EA3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C0225383-AC65-DA17-4910-5BE4E109229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6F93BD59-7265-0942-D2DD-BE9A07EBAA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E2FA7093-4965-9471-F6DC-53793D672F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44855A65-4932-7462-F2D0-6D65B76B99D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FC15A80B-8077-7E88-0FA5-6C8F4555B4B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FD7F420A-D189-AF30-3EED-0917063D3AA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7300778E-9406-BDC0-E94D-C80C66E72D61}"/>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D59CBB76-B563-4C99-2E3B-16B48F92167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7C7D5DF-0C4A-8E20-03FB-4B78C0C80F9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BB93431-5CAC-1D59-44FD-F7221478635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C192FCF-F419-1605-3CA7-2CDBF88E8D4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A7E08768-D1D4-99DA-F06E-4337C0BDFF4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8D2F0565-95FD-75A7-C59A-61AD1EFD4DA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9C5E2F1B-3D27-02EE-494C-A26ADC513A4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BD96AC3-BC5B-2143-4C1E-01605AC1928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5FC86561-5167-B8A1-32E0-CF6F295B958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A71684C-C98F-2463-AD31-7123857C9BC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96AF071-461C-F60D-6E7A-F73EAFBCD6FF}"/>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ED9F442E-2E76-E752-F723-28E48BF583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E7EEFB5-DB6F-B4E7-ED91-E6B71D7963A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1AA8D44-422D-7F9D-7997-5F3F50899EB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26F1FA35-2F37-589B-95EC-0F5035C43D4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8CF24463-985E-4841-1662-8E9F5F720B6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D337B350-5DF9-6525-5D82-352FC716727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37CA8F8-4EF0-236E-F644-6B23AEF02D6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2E0391EE-3286-65CA-E3D8-A65F813F5AD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0CA2AF3-AA89-4E3A-802F-C8FFB9D38E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1565891-E542-507C-F2B5-53DDC5EAF9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286957CD-96EF-7421-E2CD-06C584E049CA}"/>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7361552B-1A01-6CCE-F680-D9D3FDBF9CF7}"/>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72ACAB67-309D-417F-81F7-683019FD4531}"/>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FB23A2E3-3BF7-9BD0-035F-06F629687136}"/>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CD724A61-8752-25C5-D987-E8C5721473E0}"/>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64FA039D-959D-6611-C936-F6A4CBDF777F}"/>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E7ED5CC5-39CB-981B-6188-CFE242313C2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FA2BE127-9F1A-3281-99C6-C13DD9B803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1339DE92-5D18-34D4-77C0-ADF14CD239A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DAE3A31D-1B1D-AEAE-CC95-3FB49FD0641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D639CCFF-B725-45CE-7011-B96E8500FB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6087D66C-F79E-5514-9804-0C5747BF650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169D5E2A-5F91-7E68-23CB-854E9F08E2A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97C7BF70-7E67-31EF-47C6-2180F399F2E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5AC040E4-A660-702B-A8DA-10F40F096D4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7DB00156-1524-5D49-5546-F62E8970F9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85F3E297-8003-E113-2E3F-4D930DCD0BAE}"/>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D83BF08E-D6CD-9F9C-CC72-786C12B84D2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6C20486D-B26B-F517-9AD1-775241C7DB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EE6BFCF9-E9A4-3F79-89BC-AAFF89730E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F9F45D6A-280A-7375-164A-804B155F002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C892739B-51A8-F9D5-61EE-F4AE2B1C88B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364F3B71-2C82-A923-918C-16BC633C83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0EF4C374-36B8-E2EC-438C-5A0E8C150A2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0C4F92D3-84E8-11B3-9A58-9B42FA5C2D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B5073C30-23C8-D8E3-1286-A7492528AA6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B360352D-0114-C72A-8C6C-3880C0C4B69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478E01D-9366-44BF-539B-ACF24C2A9904}"/>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2646E292-C723-F9D7-55D0-8641C1FC185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61C579C6-AA37-D8F0-9F1E-6DFB0446D6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DC464EA1-04A9-61FC-28C5-AC59354656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AF129C2A-61A9-0B54-8965-9365D8E690D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5FA305FE-7EA8-0589-8FFA-410F221E985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39844C23-9152-A20E-60D9-6BD46FC9541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D81D4610-EC5E-4FA3-1B0D-D6DD236D9F8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07B613CD-F68A-BA11-264B-CF7390156B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85F6C263-426D-6AFB-58C7-8AE3965EFDC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67F981E2-97DE-950F-5D77-E34901ABF32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6AF116AE-9DB9-3979-7EA4-04CB21BC2569}"/>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10EF66DF-41A9-5C93-2888-C24C7491BE6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7E16A799-461B-BAC4-AE80-14E966EA8CE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62992CC4-7C6E-C48B-978F-7744368A976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C38B09AD-EC83-8FB2-7664-51C499D91C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3E1808A7-1810-346A-990D-D10DB60D4F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69E06487-D010-D2ED-835A-E07018B702F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1F02CF09-8B9D-0804-8DC3-232EB590C24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814A3E52-0C40-E013-3949-1BC0035B87A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0E932B2F-7BBB-853B-2AC8-5D7161B5904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2FF2C176-13ED-E3B2-7B33-7F1F005617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3F8E0461-089D-3D5E-3D7C-C59574DB516C}"/>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528DABCE-D1A3-A1B1-C0EC-4CBF89CE2B46}"/>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A63E1560-7516-B493-E28C-4F2C1809E65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932954DE-DDB4-58D7-0DA5-181306E744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0A15593B-E574-ECE1-2E3B-397700AB50F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3A36F605-D2EC-F8CB-1377-BABDD2E00C5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4CAFBDE2-C273-01FC-82CE-5339C64BEBA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5D80342E-BFDD-BBA0-E3FC-EC2144FF208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C01FE844-A79C-2D94-6DC1-ADBB2E29B6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11BFF0B0-844C-4954-B28C-2432E2316E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89DABD90-2640-6857-3798-F46D79DA57A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89F4C839-3074-3302-75A2-8EEC89F9B6F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3BD9FB05-DE17-67FB-4B6B-CDE23F4742B2}"/>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2393F410-1D07-0895-13F8-9ED20F0BCF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428E85A9-3D55-D9E3-4595-387FC819075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3FDA24B6-D141-28D4-E448-DE55B8F4288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A4F08863-4F3D-5095-5B51-962E7FC9404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01ABD5A8-21B7-957F-B7AB-5B75DA2B30B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D7FCD71D-431F-AA0F-F758-636ECC9D7D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24F10063-B576-1B21-A1A6-4BDD9D4E3F6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0B39D1DB-EFF6-5F0E-BDF0-D12F5910E4E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1195D68D-0D50-F329-C9D7-F16CDE08F3E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2CE26C6D-B391-7C48-8F54-A07BB04C54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1ADB4FE7-D672-909E-6A18-A1BC04AE6084}"/>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E4ED0A1D-A650-3632-863D-FE1856F09C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0C9CED8E-BE82-F69C-5208-DB5FDF4A51F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248D69DF-2AE7-8481-4F2B-0FAACEEF911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79E84CC9-585C-6108-AF61-10A50664EC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8FEED342-916A-7DF4-6778-4AECC0C2235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6F4F40D2-C39A-D8A6-5D72-C4C7DC05AC7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9A9E1641-8EA0-F140-24AF-2AE20DBF213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4C7EEA32-0CFD-28A6-BAAC-09750A77166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CD0CEDE6-11C4-36D0-E6AC-8FFBD3C9909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7930D5CD-8D76-7FC7-96A0-C94C76EC8B9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EB97000A-4068-0075-10AA-ABCF5B4EAB85}"/>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75DC01F0-61B9-04A3-BF0C-1CF44D86511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D065712B-F866-D030-AAAB-0F59488895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598182AA-6E10-461E-F8AD-405147AAAA8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BC53906C-4C09-0D0A-E1B6-562329726DB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03C79503-5486-8864-3CE8-C0A3AE21E6E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35808BE2-0CE6-C7EB-D118-6B1B736325E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1DB3D87A-E2B6-BEBB-5F06-FED76E65A40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06DD4AEE-3F96-4CD3-B076-D22465E265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31231151-797D-8902-AF95-4295988392D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7B3A6350-93CE-C204-693C-9043CB8823E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66FD5A8A-FDB5-6584-79DB-90208AE6254A}"/>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6EA986C6-DABC-9140-FBFE-6DA95ADD4F84}"/>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3C25CD0B-D85C-A412-C0E4-53164311437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19CF07C0-F37D-9746-D9C2-9C67F552EC6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CE8BC830-E287-FB02-0D37-D706C6AF76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1FE75417-152D-70B1-46E1-FA417FD609A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19DA9ADA-58D2-5302-7A07-8C282921256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6FA2E350-EA3A-2C00-16A3-499D6B261C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43A52ADC-B88D-A2B8-2269-749B0DE5A07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B4DA1126-86D3-86F0-95BC-38F35020F35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4C5C323D-FA19-A5BA-4C46-EAB646C022B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DAFD056E-CD2A-A98F-20C9-80DFF8BF3D3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E481E191-DD84-CDB5-5A4E-FA6AF20C81EF}"/>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4766D283-F1AE-B1EF-4C15-7070D6BF398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0BA5C319-1D15-E1A6-B1F4-B7D84B9A3F3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6B2C1FC0-729F-E2AE-A4E7-5B43A5CB3F2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AE39D584-0F13-6761-BE1D-222824BF727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B6B2E2B1-1C73-F835-83CF-F474CFF1191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6960FC36-8FA5-39B7-4F4F-4D3E65163B6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A7247BB5-8EA8-4EE6-C702-5590EE8E966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2338742-9BA3-43CC-0313-C944E331513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AA5D74D9-60CA-1007-A540-FF7A4D6FF1F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952A7842-1198-AFFF-523D-BF6EDB48F3A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9E5EF708-943A-BE4A-8A26-FC64DF9BAA8C}"/>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E8E9BCC3-2B57-0040-D617-1DA265E9BE5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E1F124E4-D468-5618-3479-AF50ECD0511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861B83DD-EFDA-02A6-26C7-572FC0A39AC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F747CCE9-4E82-A6A2-11B4-A29C66FFC4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266918CC-7FE9-EE93-4D07-8B75AD1623B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9A5B1A90-543A-97DF-1325-46170A3D7CB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0C8A9AF7-09B2-436C-DD4A-7642DC45174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725FCA5E-9EE8-1F47-38B2-AC3CF5049CB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BC641BDA-1F4F-1F7F-811F-F8CB7BB0F51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ED39C936-51DC-346F-F165-5F98DE3AB78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BAE298B0-E46E-61C7-3F8C-24F2212321D6}"/>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E39DE057-CBDD-5A60-D897-5CDB84187BB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54014D76-149A-7C37-4AF6-07312BC2F09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AD9D8333-D5EB-B9D4-1BBC-D3696E2435C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5001B73D-3CC4-E5EB-8912-B992582AE35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72D642EB-7737-DECB-D49E-A0888370D96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37AB0DBF-AF9E-A0DF-0D2C-915DC559E56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51983ABC-3E19-4B9E-9134-A4CA3151708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0F86E409-34D4-0A82-3258-27A8F1B7FF6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CDAEAEB5-4A92-7BB3-2F33-00C2C92D813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7B1AD622-1F8E-2932-E59B-CBFD5791F9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5" name="Rectangle 224">
            <a:extLst>
              <a:ext uri="{FF2B5EF4-FFF2-40B4-BE49-F238E27FC236}">
                <a16:creationId xmlns:a16="http://schemas.microsoft.com/office/drawing/2014/main" id="{A2E10409-A664-A345-5B3E-1FED2C93B56B}"/>
              </a:ext>
            </a:extLst>
          </p:cNvPr>
          <p:cNvSpPr/>
          <p:nvPr/>
        </p:nvSpPr>
        <p:spPr>
          <a:xfrm>
            <a:off x="609595" y="348863"/>
            <a:ext cx="8202438"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Baum-Welch Applications:</a:t>
            </a:r>
          </a:p>
        </p:txBody>
      </p:sp>
      <p:pic>
        <p:nvPicPr>
          <p:cNvPr id="228" name="Picture 227">
            <a:extLst>
              <a:ext uri="{FF2B5EF4-FFF2-40B4-BE49-F238E27FC236}">
                <a16:creationId xmlns:a16="http://schemas.microsoft.com/office/drawing/2014/main" id="{ADD6CCBF-E56C-2FE8-9977-8CCAE94576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15139" y="1497289"/>
            <a:ext cx="3131875" cy="2348906"/>
          </a:xfrm>
          <a:prstGeom prst="round2DiagRect">
            <a:avLst>
              <a:gd name="adj1" fmla="val 16667"/>
              <a:gd name="adj2" fmla="val 6892"/>
            </a:avLst>
          </a:prstGeom>
          <a:ln w="88900" cap="sq">
            <a:solidFill>
              <a:srgbClr val="FFFFFF"/>
            </a:solidFill>
            <a:miter lim="800000"/>
          </a:ln>
          <a:effectLst>
            <a:outerShdw blurRad="254000" algn="tl" rotWithShape="0">
              <a:srgbClr val="000000">
                <a:alpha val="43000"/>
              </a:srgbClr>
            </a:outerShdw>
          </a:effectLst>
        </p:spPr>
      </p:pic>
      <p:sp>
        <p:nvSpPr>
          <p:cNvPr id="231" name="Rectangle 230">
            <a:extLst>
              <a:ext uri="{FF2B5EF4-FFF2-40B4-BE49-F238E27FC236}">
                <a16:creationId xmlns:a16="http://schemas.microsoft.com/office/drawing/2014/main" id="{776411AF-6513-3966-5259-324DAF75602A}"/>
              </a:ext>
            </a:extLst>
          </p:cNvPr>
          <p:cNvSpPr/>
          <p:nvPr/>
        </p:nvSpPr>
        <p:spPr>
          <a:xfrm>
            <a:off x="1380806" y="1102288"/>
            <a:ext cx="4602414" cy="646331"/>
          </a:xfrm>
          <a:prstGeom prst="rect">
            <a:avLst/>
          </a:prstGeom>
          <a:noFill/>
        </p:spPr>
        <p:txBody>
          <a:bodyPr wrap="none" lIns="91440" tIns="45720" rIns="91440" bIns="45720">
            <a:spAutoFit/>
          </a:bodyPr>
          <a:lstStyle/>
          <a:p>
            <a:pPr algn="ctr"/>
            <a:r>
              <a:rPr lang="en-US" sz="3600" b="1" i="1" spc="50" dirty="0">
                <a:ln w="9525" cmpd="sng">
                  <a:solidFill>
                    <a:schemeClr val="accent1"/>
                  </a:solidFill>
                  <a:prstDash val="solid"/>
                </a:ln>
                <a:solidFill>
                  <a:srgbClr val="168DA5"/>
                </a:solidFill>
                <a:effectLst>
                  <a:glow rad="38100">
                    <a:schemeClr val="accent1">
                      <a:alpha val="40000"/>
                    </a:schemeClr>
                  </a:glow>
                </a:effectLst>
              </a:rPr>
              <a:t>Speech Recognition:</a:t>
            </a:r>
            <a:endParaRPr lang="en-US" sz="3600" b="1" i="1" cap="none" spc="50" dirty="0">
              <a:ln w="9525" cmpd="sng">
                <a:solidFill>
                  <a:schemeClr val="accent1"/>
                </a:solidFill>
                <a:prstDash val="solid"/>
              </a:ln>
              <a:solidFill>
                <a:srgbClr val="168DA5"/>
              </a:solidFill>
              <a:effectLst>
                <a:glow rad="38100">
                  <a:schemeClr val="accent1">
                    <a:alpha val="40000"/>
                  </a:schemeClr>
                </a:glow>
              </a:effectLst>
            </a:endParaRPr>
          </a:p>
        </p:txBody>
      </p:sp>
      <p:sp>
        <p:nvSpPr>
          <p:cNvPr id="233" name="Rectangle 232">
            <a:extLst>
              <a:ext uri="{FF2B5EF4-FFF2-40B4-BE49-F238E27FC236}">
                <a16:creationId xmlns:a16="http://schemas.microsoft.com/office/drawing/2014/main" id="{BC6CCDA5-DB23-DF22-3443-9AD87EF1D552}"/>
              </a:ext>
            </a:extLst>
          </p:cNvPr>
          <p:cNvSpPr/>
          <p:nvPr/>
        </p:nvSpPr>
        <p:spPr>
          <a:xfrm>
            <a:off x="1451069" y="1802795"/>
            <a:ext cx="6330626" cy="3416320"/>
          </a:xfrm>
          <a:prstGeom prst="rect">
            <a:avLst/>
          </a:prstGeom>
          <a:noFill/>
        </p:spPr>
        <p:txBody>
          <a:bodyPr wrap="square" lIns="91440" tIns="45720" rIns="91440" bIns="45720">
            <a:spAutoFit/>
          </a:bodyPr>
          <a:lstStyle/>
          <a:p>
            <a:pPr marL="285750" indent="-285750">
              <a:buFont typeface="Wingdings" panose="05000000000000000000" pitchFamily="2" charset="2"/>
              <a:buChar char="ü"/>
            </a:pPr>
            <a:r>
              <a:rPr lang="en-US" sz="1800" dirty="0">
                <a:solidFill>
                  <a:schemeClr val="bg1"/>
                </a:solidFill>
                <a:effectLst/>
                <a:latin typeface="Segoe UI" panose="020B0502040204020203" pitchFamily="34" charset="0"/>
                <a:ea typeface="Calibri" panose="020F0502020204030204" pitchFamily="34" charset="0"/>
              </a:rPr>
              <a:t>speech recognizer maps the input speech vectors with the word sequence that needs to be recognized.</a:t>
            </a:r>
          </a:p>
          <a:p>
            <a:pPr marL="285750" indent="-285750">
              <a:buFont typeface="Wingdings" panose="05000000000000000000" pitchFamily="2" charset="2"/>
              <a:buChar char="ü"/>
            </a:pPr>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r>
              <a:rPr lang="en-US" sz="1800" dirty="0">
                <a:solidFill>
                  <a:schemeClr val="bg1"/>
                </a:solidFill>
                <a:effectLst/>
                <a:latin typeface="Segoe UI" panose="020B0502040204020203" pitchFamily="34" charset="0"/>
                <a:ea typeface="Calibri" panose="020F0502020204030204" pitchFamily="34" charset="0"/>
              </a:rPr>
              <a:t>mapping may not be one-to-one since different word sequences can have similar speech vectors.</a:t>
            </a:r>
          </a:p>
          <a:p>
            <a:pPr marL="285750" indent="-285750">
              <a:buFont typeface="Wingdings" panose="05000000000000000000" pitchFamily="2" charset="2"/>
              <a:buChar char="ü"/>
            </a:pPr>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r>
              <a:rPr lang="en-US" sz="1800" dirty="0">
                <a:solidFill>
                  <a:schemeClr val="bg1"/>
                </a:solidFill>
                <a:effectLst/>
                <a:latin typeface="Segoe UI" panose="020B0502040204020203" pitchFamily="34" charset="0"/>
                <a:ea typeface="Calibri" panose="020F0502020204030204" pitchFamily="34" charset="0"/>
              </a:rPr>
              <a:t>Markov model is used  :Acoustic Training.</a:t>
            </a:r>
          </a:p>
          <a:p>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r>
              <a:rPr lang="en-US" sz="1800" dirty="0">
                <a:solidFill>
                  <a:schemeClr val="bg1"/>
                </a:solidFill>
                <a:effectLst/>
                <a:latin typeface="Segoe UI" panose="020B0502040204020203" pitchFamily="34" charset="0"/>
                <a:ea typeface="Calibri" panose="020F0502020204030204" pitchFamily="34" charset="0"/>
              </a:rPr>
              <a:t>a Viterbi algorithm was used to carry out acoustic training but Baum-Welch training algorithm is found to be more effective and precise.</a:t>
            </a:r>
            <a:endParaRPr lang="en-US" dirty="0">
              <a:solidFill>
                <a:schemeClr val="bg1"/>
              </a:solidFill>
              <a:latin typeface="Segoe UI" panose="020B0502040204020203" pitchFamily="34" charset="0"/>
            </a:endParaRPr>
          </a:p>
          <a:p>
            <a:pPr marL="285750" indent="-285750">
              <a:buFont typeface="Wingdings" panose="05000000000000000000" pitchFamily="2" charset="2"/>
              <a:buChar char="ü"/>
            </a:pPr>
            <a:endParaRPr lang="en-US" dirty="0">
              <a:solidFill>
                <a:schemeClr val="bg1"/>
              </a:solidFill>
              <a:latin typeface="Segoe UI" panose="020B0502040204020203" pitchFamily="34" charset="0"/>
            </a:endParaRPr>
          </a:p>
        </p:txBody>
      </p:sp>
    </p:spTree>
    <p:extLst>
      <p:ext uri="{BB962C8B-B14F-4D97-AF65-F5344CB8AC3E}">
        <p14:creationId xmlns:p14="http://schemas.microsoft.com/office/powerpoint/2010/main" val="1266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C68D8-F081-3DB5-F865-C69946D89A0B}"/>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2EB69574-D1D5-6A77-13B7-0A1527212A1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10EA3C1F-5B1E-8564-D59C-D216DBC53634}"/>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2F1D4EBC-3D3B-1CC7-DF2A-9E9CA6ABDCC3}"/>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9D4B7D75-99D4-C09A-0F93-80139AE79E64}"/>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03F9314-26BF-F8C5-4020-6ADE5B08B99E}"/>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9A87F73D-01E7-A8D7-B435-50639D5EC1F1}"/>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18D81E15-9827-6F72-0B65-121112BF3D98}"/>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283D6758-3C6E-9B01-4118-54980D0BC864}"/>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F5DBF058-26C0-5061-1976-4E32FD005910}"/>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B8DEC6-EC08-82D5-6091-BA97D6B4DC3B}"/>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71A68F5A-E93A-34BD-2CBB-06D841D40CEC}"/>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7</a:t>
            </a:r>
          </a:p>
        </p:txBody>
      </p:sp>
      <p:grpSp>
        <p:nvGrpSpPr>
          <p:cNvPr id="170" name="Group 169">
            <a:extLst>
              <a:ext uri="{FF2B5EF4-FFF2-40B4-BE49-F238E27FC236}">
                <a16:creationId xmlns:a16="http://schemas.microsoft.com/office/drawing/2014/main" id="{5DE12ECD-89EC-6C1F-1AAB-42E272E7EDBC}"/>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40E3C7D1-A034-D279-A068-9F1FE306FEB4}"/>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868A3D63-46C7-AE43-B89E-BCDC667FD6C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F1A42377-5CF2-77D1-CFC3-265A101B7B9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2F4811DE-7979-DD19-2177-BB2D1E5FC21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97A235C5-3D21-15A6-02ED-2F68FBA01E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51AF8048-9C28-E0ED-C107-A230D764B1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8A803EC8-6F4D-0A21-7699-FB3C58F220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9F5C41CD-104C-1F06-EFDD-81977242110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9CE1DFEA-8191-6893-E99B-F255AAAC72E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F7DE80F2-3C53-D6A6-8D4C-A9CC4377653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F35A0C64-E7F9-7424-6E15-6D138BA89E6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C0E1587C-D90F-8051-7193-1499FD26DB64}"/>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2B85DFCC-73A0-7D4C-7001-500CC71161A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55FE8223-0C0F-5515-0593-0F9805DF18B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FCB176CD-1BF4-F610-8B62-CEA6D8A786C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DD092C4E-DAA7-8820-C788-D8896E6AE38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5AD118A3-2961-F06A-507E-77B50A28D06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E849C03F-300F-E27D-E8A8-4CFA69F3F9E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937D40A1-EB8C-83C0-D184-F480638A066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74567FE2-557D-600C-5E15-414D6169BB4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41B01178-1BA2-A995-49EB-8D40D93EF41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ACB48E9C-7459-3A47-7484-E64445A817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D6143F47-5E8C-3966-59A4-DD6F043309D7}"/>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DC62C309-8D58-5594-A12D-2FEA2A4C4E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B15BAFFE-6569-7448-B4BF-13A4777BE01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75E0A615-6CE4-00C4-AE71-40266875715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9B483E00-6707-F5D1-0BB3-B94633F61E9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78ED5A5A-306B-2547-6F8D-6FEC9FF802D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737E5582-9A6E-518A-FE5A-E17E9E95989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C046D7D0-FF28-299B-5F92-251E65D6C27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76AB808A-3A6C-288E-0DCB-F26E96E502E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72ABB16C-349E-C79B-1D01-73158BCB65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8102DDE7-D0A0-F068-6ABE-43445F5B501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6DEAD1BA-5363-3906-53E3-70A82B24190C}"/>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E73F4FFF-B650-1CCB-5DE5-D4E0FE05136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6BD71F6F-FB1C-1A18-4960-373910E77D5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EF69155C-7911-FDCF-D426-106D1B42803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E64ADAEB-E847-E837-9482-94CD996F0F9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16C8CE12-8543-F5E8-53E4-EB9A9812DA4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B508BAB7-C75D-EB93-F509-3A8901AE17F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196C508C-2998-AD34-D734-65AEF89709A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59338DB7-E481-C873-3A4B-268D74480D9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88A53DD9-A96C-AA0D-0B32-B41B7809F21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4460A248-CF6A-FB92-D365-F22E77BA168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2D13BDC6-FB36-2D66-6B8D-806F5733E298}"/>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82324D6F-C846-1492-38F1-0CF3793E1972}"/>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F232CA31-ED8D-DEB5-7A48-A68163F00FA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FC9D6AE1-607E-0BCB-94AA-278AF851BF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6D77E9D1-2975-F895-AE45-B9AF7EFF01C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A884A140-1C0E-E4E1-0B84-2382AB43CAD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F230CEBA-545D-913A-2369-EFA750CC5CD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0187AE4C-E4F9-8899-16B9-4C60E9FAFDB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2DA2C5EC-A730-012F-B6B2-3F82003569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51A58090-174C-A4C8-C359-0068C8328EA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CC34E591-67F1-3580-F3DE-B41D5CEE7E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391F740F-B73D-B652-0D9A-902D491E290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E58FCFB8-D129-CDD1-A09C-3CE24A3FB9E3}"/>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E98775BF-3B1F-C427-BBD9-6482755711F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421DA8A3-3031-DE40-81A2-0A294E7BF33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3C6FC9F1-5DB6-7413-686D-64480AEB8CB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C97C3CF2-07BF-91BF-AE4E-D199EE33B9E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DAFF5E46-8A09-A461-AAB6-219B7D6110C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3F386AFC-35A5-00EB-804C-91ED41A524B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372B0BC0-514D-684A-365C-CD5D88E1E39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0EEAC27D-3576-AF93-160E-E1B5754463F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D5A9AE9E-2D4D-5985-9483-88A9DFC500F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4714A6C1-36C9-B5CB-D055-6407A68869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A2028C7D-7451-43CA-F0AB-53D18E9B6E05}"/>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6FCC19A9-3855-A3DA-993E-D7FD1C7AAE0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E6F1D929-12D9-EA49-1535-8361EDF676B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6DA345FD-8AA3-B6FC-A779-D190FFDE61A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EEB23862-C7A4-0069-94EC-D83D801E7F6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3DB30CDB-96B2-BD21-7DF4-A0EA2F5A8E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C0115492-FF7A-9B8E-9A18-5D6E9DF7D03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F7B0D41E-8998-3CDC-B4E3-48E7383EC66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483D69F9-4D39-5CEA-3AA5-8772F88978E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1D2E0B2C-925F-4C46-D06C-2408DCC5B6B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86CF8652-46EE-B916-5A10-F0EED24A00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739EC538-6307-FEEF-BB3C-8E92ACE45ED5}"/>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7462330F-B801-551A-5CDC-44E7BC88CDB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376E93DF-A464-9862-4D25-B7EA21316EF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667F9BBA-E270-5897-A9C6-843889840F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70C0DB08-D0C9-BE48-3F6C-C6034E17B7D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D9935640-9A88-2502-9E88-6022336320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A37CD670-1177-DDA8-2C86-13F320EF04D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F1DCFCFB-104E-7A24-3CAF-DF3CE00C3CB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F7B0D585-5780-6A62-51E3-FB80287255C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B53C9733-D2E1-726F-A91B-5AE24D5625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FCF67391-9246-2771-1AE4-0FA5BAB09A6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57573994-9218-6109-BCE4-1F74B9ECB783}"/>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B2B776A-0727-1B8E-FCC7-12F8A2B79C0D}"/>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7A19460E-8C95-71D7-798C-75BD4E1CDAC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BF9B1680-10F7-4A59-ECC3-E87ADCFD22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4904953A-AFA2-B215-7983-9A62C46AA5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C36991BB-6468-9B20-9ABD-88D2544267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9AEA1965-2495-AA4B-2D12-C0CF4454111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BE9DA46B-952D-4DC4-6AA0-80913245FA1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7DBDD234-D037-2D9A-9FE3-1C89AFD0940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3CC06F08-C6CA-9DBF-42CE-2F7F5B6EB83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F31E8E26-8519-C9FF-9DA8-86274C57BF7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F415AF83-8BD9-84B8-C821-F1138BD670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39745AD4-AC7A-ADD9-F813-65A667D53DB5}"/>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BB55521C-7090-4BB8-CE81-722273301D1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890D5AB9-E4EA-E941-911F-FD0B151C983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F86DA7D2-982A-244A-CF4A-6A186004B7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2BCE7EAC-C886-C6C2-3B46-A2EA0526FFA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A8B2951F-B58A-38D5-B120-E08710DE7EF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CD14254C-D5E8-3B73-9091-8FA498CDDE7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C0346CD7-0574-B5DB-A3DB-7D7E7BE5C68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04A131F4-723E-FC37-0082-796ED82DA19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71CF0747-8C27-160A-9994-526DDB7005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68F9ABC6-44CB-3E6A-DDC6-6106BAAA8A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1CFAB43D-D436-4851-C62B-45DD8B69D2BB}"/>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191435B5-F006-5AE4-477E-969B36C0E16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CF4639CE-5E9C-CFEE-E518-A660D47650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190D42D7-B6F2-5E91-4AAB-1DE05BA5568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60F39FA7-68E6-58DC-8756-56BEC915F8A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06A82C4C-1CE4-2862-2699-2C1D06ADD8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10355C5D-1FA3-0C90-3293-F3BDBC9D88A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B76DEBF9-E152-3D0F-5F30-CC114CCFEE2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13E2E081-AA9D-3994-B2A3-8A112B303A4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A9ED647F-9C89-86B0-AA7C-196AAEF0FD0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649DD846-6D06-142B-0B0A-0F9C8BE5C09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5A12B028-0FA0-5539-15BC-5037E633C21C}"/>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43A8533D-2018-A481-49BF-CE5EBEB776E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49C968B2-4E5F-00C2-C095-D20417BE3E8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283A91DD-1D9F-A67F-2A0C-8B09E06B478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87923B9E-1B18-9040-7C40-F522F9911D9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69ED1D0B-54B5-B7BC-6272-4C3F982E025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B543C70F-5272-DD9F-E87B-7DDF5EB8326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5A915406-4544-4951-7A61-EA50F388A50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3E9F42B7-BE27-3EE3-D106-C555FF89E96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441636FB-FB80-2C6B-B966-5A006569B39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A5721C3D-7499-D884-9874-68A7E3B1345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1D9484D8-F1E8-9730-0D97-AEEA1CD146C5}"/>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2020C22B-5A1B-4EE0-A085-5026B0847AA4}"/>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E68E4FA2-FAAA-D932-6EB3-A903AC63845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ECE2E836-96EC-EBB1-C0AA-88576F9D8D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E6DC14A0-34CE-73DA-39A9-44F31382D95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642DC21F-7041-C224-7FC5-7EC5EF2247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9182FC6F-ACE4-80F2-020A-6452F55E026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F223BE0B-B359-DBB8-7754-B81DA9636D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5B196E3E-A1A5-AD62-086D-2C08C998E4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E007D944-4B12-0A9C-3AFB-08850E9CD20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252B0635-97DD-A609-217F-E02670503EA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FAB72CE5-E397-4712-E047-F54DDB8B0F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23808454-A96D-6293-6682-D4DACC1150EA}"/>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BD5B241D-8B76-6773-1E64-1F32B85838C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F0AD16D5-8124-7910-C767-A4D53A6B20E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2D69EBDC-4535-E6E3-9BDF-8D95D5BF6E1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15242B0F-BB1B-AA29-BFAB-74F4FAAC9C0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20E2C96B-220E-7AEF-AF6F-0A04BF4A58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3137EE9E-7736-3CC8-760A-8C12BF4821F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9EE41783-955E-8D87-3A40-050EEE8EB8E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ACB5674A-681D-AA3C-8B8F-628A957454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F3DDEFC2-96F1-0BB0-F571-98B18F8DDCD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F930C3CC-6EC8-7D39-1A5B-C06BFF6D962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C7485BB9-01C2-EAA9-174E-CC109E89ED47}"/>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B0168FE5-3A72-CF6E-F0FC-0B9D0AD4FB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1CC20254-2E92-615B-5F64-2DE5959B456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DD7CE788-CA4E-8E4B-EEDA-C8EA70B60B1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718B0080-7012-9FCE-075C-F8B32D4059A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AFB4F00A-199D-34B7-8732-521F7A59547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15444132-7931-F8F9-2E09-E0F5A56BFDC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CD61B518-AA23-A97A-4FA7-FE03A4BB97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B644EBCC-F0F8-D11C-50C4-434E9D1B9AB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8A9CA7A5-10AF-1657-D6A9-5887A22C592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8D4F2F9-1EA5-EBA1-BA90-1EB6CE3E7D0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E94A37EE-59A6-2F63-E264-B8CE8BD93B54}"/>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B83EA892-7962-E960-B46C-8287A8E0FE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41F9B27-E133-6BBF-42DC-0B4EC70660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34628C5D-B25C-FB52-87B6-2042002B837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43E16D1A-5FF2-CC5B-0D8B-8395EE4C37F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DAB588DD-218B-ADC2-00CC-DEF73BA780C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2C99BAE3-4BFF-0990-1DA4-8A5BF65FA78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0513EDF7-9780-BBFD-4A86-A065C1CF00F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63E6431A-7F31-3B65-9DFC-210B53DDA24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D26EE368-FF04-9FCE-4851-692DBEC690D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5A03913A-A6D5-6A58-27C1-43BEF09C377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741B5397-7855-63D9-8DE1-7460343A3CDA}"/>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E13D01D5-B258-5A7B-2138-8D62C2447CEE}"/>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80EEA460-1920-A754-E4C3-A079F4A8D18D}"/>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B8DA70A4-0B7B-7794-810B-A884D109B177}"/>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7B7AB1FF-3DD4-1F2D-1F60-C31E5A8B16C6}"/>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E01A38F1-8A80-A972-6BE7-B7FD3725282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F5479BEC-B0FD-2EEE-D6C8-185D109A27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55983293-5A2A-F84A-8A87-B7196D1E952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3684CE1E-993C-8A08-FF18-126CB9FD2CE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E3648CF5-2EC0-32A2-40AB-A3C6DD71512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9E11003D-EBF6-4350-03FF-FFB8A82C24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B3E7C1C5-BCDF-3A9E-FEED-9E36D9EFFA0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C04DDAE7-8910-AA31-A889-5732E37EC75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9AD67394-C3E4-4BD7-B41D-769BFCD305F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D82F967E-628D-61CA-97C9-6C699165B5D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0DB88011-7688-FBB0-286E-2E88643CE732}"/>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10A51E06-7863-9D0D-654D-470B4348FDD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CC8219C7-7954-BDAB-ABE0-B99E9A60F2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C80CB330-C794-9788-94EE-F752C6CF3DD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F939A39E-7F39-2EAA-DEC2-8F74284BF8C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45318C97-2D78-09E4-3F05-A0A8F5C28E1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CB0FA6F0-5EED-8115-FA14-9408E71AD4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D51D9EB1-1A9C-745E-E5EB-2845F187BC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FDCB264B-0AA5-2B64-3E43-EF5E60FA5D6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2E5E840C-2B86-4FC1-C1DF-3F7A25BD09A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46E1DC73-63AA-B277-4EAE-3FBED2BA5AE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178FC04A-97F1-2979-6C36-0432215BA76C}"/>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65F302ED-8362-76BD-E715-59BBB9E9A80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82060DEE-88B4-514E-AD83-E204B47D1A8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1BC8D852-91D7-99C7-E832-242866311EC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10C92F64-81D0-BB05-CC6F-246D73F1974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0D132553-FDD0-4588-3BC5-39969B7D019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C131E75A-16D4-915F-B9B5-26FA5A87443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9C6A2DD9-AD72-4E70-7F6E-572D2DA2671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B7079FAD-7680-AC4A-8C29-5AB6F26E901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8091DBBB-E6F8-DCD8-9F5A-542992697F8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4C97BA5A-0C54-2E51-BB5E-7356C22781D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559C6A7D-9612-C976-4A78-4FB071112F96}"/>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52F01181-2E0C-A1C8-6685-59ECA4D610E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A5F5519D-E1EA-0338-6024-43C1CE33E5A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EE195AAA-D6A1-E507-8116-B704A0683BE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32A783BB-6F23-FC56-9258-09BB0B67802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CE3DBF45-D4C1-99CA-AB9F-47D25F2157B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B248C8E5-2C0A-77E4-955B-9DCAE23060C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45E42C17-2827-EB4E-995A-0393E977D5E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0C1F8ABE-D1F1-2279-B280-F652C1BE3A1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796681A2-9841-E090-B514-1A093546BA6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DB503B6B-D9CA-5406-430F-75914C5B37D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extBox 1">
            <a:extLst>
              <a:ext uri="{FF2B5EF4-FFF2-40B4-BE49-F238E27FC236}">
                <a16:creationId xmlns:a16="http://schemas.microsoft.com/office/drawing/2014/main" id="{C9525BE3-9820-9B41-9BA4-7FA1E55CC203}"/>
              </a:ext>
            </a:extLst>
          </p:cNvPr>
          <p:cNvSpPr txBox="1"/>
          <p:nvPr/>
        </p:nvSpPr>
        <p:spPr>
          <a:xfrm>
            <a:off x="4197598" y="4870863"/>
            <a:ext cx="8817134" cy="1569660"/>
          </a:xfrm>
          <a:prstGeom prst="rect">
            <a:avLst/>
          </a:prstGeom>
          <a:noFill/>
        </p:spPr>
        <p:txBody>
          <a:bodyPr wrap="square">
            <a:spAutoFit/>
          </a:bodyPr>
          <a:lstStyle/>
          <a:p>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Implementation using Python</a:t>
            </a:r>
          </a:p>
        </p:txBody>
      </p:sp>
    </p:spTree>
    <p:extLst>
      <p:ext uri="{BB962C8B-B14F-4D97-AF65-F5344CB8AC3E}">
        <p14:creationId xmlns:p14="http://schemas.microsoft.com/office/powerpoint/2010/main" val="170678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C943A-9BB2-6F26-B177-3A56D9BA4F0E}"/>
            </a:ext>
          </a:extLst>
        </p:cNvPr>
        <p:cNvGrpSpPr/>
        <p:nvPr/>
      </p:nvGrpSpPr>
      <p:grpSpPr>
        <a:xfrm>
          <a:off x="0" y="0"/>
          <a:ext cx="0" cy="0"/>
          <a:chOff x="0" y="0"/>
          <a:chExt cx="0" cy="0"/>
        </a:xfrm>
      </p:grpSpPr>
      <p:pic>
        <p:nvPicPr>
          <p:cNvPr id="225" name="Picture 224">
            <a:extLst>
              <a:ext uri="{FF2B5EF4-FFF2-40B4-BE49-F238E27FC236}">
                <a16:creationId xmlns:a16="http://schemas.microsoft.com/office/drawing/2014/main" id="{E0F9BFB6-764A-6C43-F42C-06C960CA16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 y="-39226"/>
            <a:ext cx="12230713" cy="6926138"/>
          </a:xfrm>
          <a:prstGeom prst="rect">
            <a:avLst/>
          </a:prstGeom>
        </p:spPr>
      </p:pic>
      <p:graphicFrame>
        <p:nvGraphicFramePr>
          <p:cNvPr id="104" name="Object 103" hidden="1">
            <a:extLst>
              <a:ext uri="{FF2B5EF4-FFF2-40B4-BE49-F238E27FC236}">
                <a16:creationId xmlns:a16="http://schemas.microsoft.com/office/drawing/2014/main" id="{37992185-E3C6-3C7C-2021-90ACF95CEF2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89C181A7-F536-9F0B-9D33-91779AEF886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7885F59-C4D2-003C-5510-17B4737359FB}"/>
              </a:ext>
            </a:extLst>
          </p:cNvPr>
          <p:cNvSpPr/>
          <p:nvPr/>
        </p:nvSpPr>
        <p:spPr>
          <a:xfrm>
            <a:off x="-20735" y="-23764"/>
            <a:ext cx="12242840"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E838A610-1557-5D3A-5C28-67329CC248AD}"/>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6DE6F500-E218-0E65-136F-DA8DCE1BE959}"/>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D79E5CA1-3827-A20C-1412-6CD2A3C55A46}"/>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B3651B8B-EAE6-8C89-0F52-D4426F63458D}"/>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6" name="Oval 225">
            <a:extLst>
              <a:ext uri="{FF2B5EF4-FFF2-40B4-BE49-F238E27FC236}">
                <a16:creationId xmlns:a16="http://schemas.microsoft.com/office/drawing/2014/main" id="{34964658-C883-6DEB-04D4-6CCCBDCA10EC}"/>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AF2972D-2633-610F-AB46-4F9D777DC420}"/>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9E4465F3-4697-5FDE-E63D-BF67EC53DD06}"/>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C328636F-3E03-827B-8E34-77528371059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00237BDD-0083-C853-ABAC-79BC4E6FF5A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132AE741-6468-E3B3-BD4C-90E2384B02F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2F14E6A7-BA08-F4CC-4D22-6CEB2D39F06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5597F4FA-A513-8C5F-572F-08BA11DF52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F344B899-E27F-6A3B-576D-D4B13EC3EA8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5558D793-8D93-B97A-3D32-F8566B05C9C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A21B0E67-2C7A-7424-E5D6-8142DE9FD55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A040DE35-B178-F192-AF12-85D4997493F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306D5358-C136-4FB6-80BF-42D4FE22D2E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6FDE6F2A-2C62-A472-5812-A42150CE7B88}"/>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CAB530EF-19B9-5281-4CA3-1DDADE3672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24CA6777-248F-A8DE-AE4F-481B49C1379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98220DC5-526A-E8D2-709A-6CEDCAC69F5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1950BE1B-E476-612E-33B6-92F94E66B8E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FC68A80C-9002-0A42-6A95-E485F3FA3B5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57BCBF9D-FBE7-4224-12DA-6FDAD0CBD80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6D31E990-1014-9990-CB0D-ACEC7E6198F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9C63E59C-680A-D483-75DD-5DF5DEA8A03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AE4858A5-A4A3-6E8A-FC07-2BDCC78E202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23EE21EC-7785-C145-EF03-AA425E95728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9B4E957F-B69D-3D7E-1BEC-B13CBBB283B4}"/>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958AD379-2815-0A48-D50E-2CB19C8658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AB32FC3D-B287-90B9-EFDF-EBFB4063C2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B86340CC-67CB-A045-27E9-F6C808114A3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D8F03D97-67EB-E94C-DA05-D76A4C9A294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854B87C2-3310-1CAC-0614-E4323EC0FD0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37957703-5EC6-89E6-F960-F80891A3513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E769D6FA-E98F-A933-00D0-DAA2AD2B886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86A266D9-CF89-63DD-1515-00358BB2279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493B6D91-18F6-9F2E-A3AC-09398CCBE78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810CDBEE-3A61-1DF8-FA78-A50B8AAD3BA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E491B99E-C4A6-CA58-C659-995C765F4106}"/>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FEA167E5-BBC1-9E2D-A528-0E893292076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A8FD664C-2105-0279-1C7C-95209ACED23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F6048EB7-0416-3909-7862-DDD2CB30B81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9FFBF70E-0337-462E-0E54-0FE55E46985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0A494E76-B92D-EFF8-D69F-36FF3133626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098DC0B4-F0A5-B190-88BE-0700A3507DD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9B2672F7-522A-2731-CE7C-61ABC887AC0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F1E45829-E158-AA8E-3369-2DC11C78F30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955E17A3-7CD3-39E9-F380-A355CD92725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BD7F3FDA-8D71-347F-9CDD-41886234105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a:extLst>
              <a:ext uri="{FF2B5EF4-FFF2-40B4-BE49-F238E27FC236}">
                <a16:creationId xmlns:a16="http://schemas.microsoft.com/office/drawing/2014/main" id="{C74B4755-4248-D88A-3A71-A78634454EE9}"/>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2D163E4E-0FC6-C204-B33C-255010FF8733}"/>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8787C56E-F5AD-E35E-480C-895B1BBA18B4}"/>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A7FC6E77-1363-C7BF-CF04-76B18046A594}"/>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6B3002E0-478C-FCF1-AC68-3C92B5F7AAD9}"/>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13990D14-13D9-F8BD-A85A-5BF2E181BB20}"/>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ED535D0F-4BF9-FE07-1279-5B7FB1FE21E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6C906F55-E063-4F40-8761-4FD29A3C80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6D53B8BD-D5BC-837F-00FD-ED9687E7DB2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CB555C5C-C846-1CD6-5182-C1A120020A1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0A35572F-FCA8-40A2-0244-CC75201F6D7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69AB935C-D8D9-827F-C0B1-155C819B94C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4BE52BDD-04C7-438D-81EA-ACAADC516E2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80EDF5B0-45D2-327B-B69A-B620C421F9C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E101C150-CDEC-BAFE-2C36-9B985E69FD1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95D659DA-35BA-0251-7D3E-72112CE7B6F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4ED79569-3FD6-2259-DE30-A3B081F32E6B}"/>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C074E359-8225-D352-ED81-B4DB35F7C40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A713D971-AC35-4570-B796-B58EE2079C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1BC16C8E-5AB7-0485-E65B-6A2D7A7E7B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895FF646-370E-F305-5318-6AAEF66EEF8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02AFD41D-D68F-76B3-3B4D-6787D9D8163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4099C409-89AF-7210-8DCA-4F816B477B3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AFA06934-55FF-C94F-AACF-51E0E69E129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7C91BFDE-BF0C-EA80-4BFA-E305F099615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A8B9FBF3-B33E-E49C-1889-64F09A0A97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6B803949-7E6B-AE4E-FA08-6994DAE6F45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4037C1A1-6C6B-D62F-C9CA-28B04923A6FD}"/>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A0F98A8A-4B89-7840-A2F4-AC451796ACE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FB17F8F0-20D1-A170-9169-1BB7F3012B4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19F2FFCD-7F1E-A85E-CD3A-51B972B2A82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BA0A89F2-34D0-BA24-D7F3-269FEF19B4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ED2AC059-C512-A31F-9886-72B4B25E9FE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4077BDE2-9610-7FD7-D406-F6254127560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2C538571-2506-6797-0465-731C060E0C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AD9355A8-FC7F-5C16-13D3-8D7B9476E72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DF0E01A9-64A4-28FA-8A89-507D9E4D31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FD269FD2-CFC2-B55A-CE11-0FD321BDEC0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614424A9-BD03-0F48-69F9-7962FA26FA3D}"/>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281FBFC5-D445-9059-71E0-520B9A87094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6CEF76B8-6347-8CBD-CFB5-35BA3D52804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88EA1050-7B5B-506F-A4B7-0795A312B5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A05E29F3-BFA9-130F-A0F3-52FA85F1C24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A91AB08C-C2A8-C41F-8DE8-A7C969A12F6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817195F-4BF2-7AD1-DA44-2216065806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66E1EB22-35D9-927F-8427-D027E66EC20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F870696C-C237-A1D5-E010-ECD974E34F0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4CAE051C-60E4-3ADA-387D-C02E27D5592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D0BAA6DF-0330-5A2F-40FB-4F6A2C974CF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4CF6DA7B-C0EF-168D-8334-D2AFFA6B2D23}"/>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9B30D5DC-563E-1210-F6E1-B2A3DBD14161}"/>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E73EB19C-EB8A-3673-FB8F-C460F0B8EBF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248E7769-8F16-B6D8-E70D-F26F3518C94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5E4CF463-BF48-6725-0D10-EFC60556278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3BF586E0-7932-45B5-49AB-487400A36B6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1502B491-4FDE-37D6-9160-311DEF568FC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8BB2EEE2-2BC1-0763-1BD2-8E0AA240042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3341FDC8-6094-3495-EE6B-44D96D52B90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E323CDEA-8271-FB06-9DA4-6FE60BCC023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361AD3DE-423E-DD82-FCA8-8249AC5B91A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ABF9BC38-4442-5A87-A40A-AEF0B5FD3B9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E3AD4DED-3D55-471B-CD1F-A3CD08FA8D8F}"/>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86CC0E6B-65DD-0293-5A2B-A9BD69BF6A6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7A0C2DD4-2808-96EE-8E5E-D84A3645EE0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9C7E3029-CAB0-4759-6334-0AB7698AAFA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320FAD13-31FA-6BD6-61F5-23854EF55FA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B23C7957-19C9-8EBE-B1D1-0AE378A545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989E985A-2F22-B214-81FC-68220B7DD5F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F781988C-7F08-AA83-0973-3D205B4D630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523D5379-F79F-EDC6-88EB-A32AE94D4B4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0EC48DFF-5CFE-CEFC-FA23-6922D1B21C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E19BD5B5-89D7-A3F9-0F56-1DAA63587B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83C876A9-82E4-96E2-B483-741306A5B144}"/>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92594CBC-8133-220F-5E76-96B387ADF58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4200BCDD-0FD0-238A-87C2-07F08D210D6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5E45F100-AECA-D165-BD8B-9817358A54C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625165A4-AE06-E0D0-6B53-978114AF27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5C088985-F264-2890-B6CC-89646DC8E58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43BE9514-66EE-5F0F-46C2-ABB236CDBC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78B22E9E-743A-9F04-2249-14EDE8D0C23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1F74E910-4F24-37B1-4861-69739BC56D3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06807AB6-994D-B8D4-E57B-37869E2C3C6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869F688F-79CF-864A-1DE5-4506B642873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ED3D7388-3FBD-29DC-6C42-02C4B1E21F68}"/>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23028A9E-C5D6-84E6-C41F-BF02ACF6C8B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61AEC229-08A0-0B30-E57B-E83164A501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7CD30413-2987-B074-B8DB-744147229EC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66E77708-E665-DA94-62D3-B62840B66DF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C85740BF-229B-DF4A-C40E-781572E7267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0425EF9B-CFC8-2090-F657-7CEF980B567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84BA0368-193B-05DD-6FD8-394E8210EB3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F7533F1A-3251-FA1E-C078-274A5A0FAEB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A3EECDF6-A795-6688-9697-0405472D23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8E3A1CAC-711A-DC2F-DF3F-7FF42A422F3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C386701B-2739-599F-3B66-FAF3CBD186BF}"/>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66978326-CA65-5127-3731-3D10B93C7E3A}"/>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A0ED8946-AC13-6D69-1AC6-3E47A3FFA51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B3CC4B93-0DB0-AA9C-20FC-3BCFD6A370C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5D0551CA-EEF1-1C3C-5DCE-6C34C0E4174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BE9A3074-0FDA-5FB7-09AE-8844AF73DC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D2C1FA45-1438-83C9-D585-18A4DE921F4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65C2B39E-B764-6003-CEAD-6DB17F005C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33EE6A66-FB7E-6AAD-C438-CFA182A08FB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CBCAB58C-54EB-DAF9-D774-1AF389C5A68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CC3044EC-E776-00F2-B275-B4E6DA713C4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883E462D-1ED0-EC33-E287-BD9C0C8808D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30385E18-A778-F144-EDF0-F7D08AF1DA61}"/>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2A74590C-5640-D6F0-DA3F-B4786633B67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49AA4074-5CA4-F132-B4C7-EF9E0F794D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CBA6DF6E-1A2C-3251-BFCD-FB656509FFD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EC63C03F-A9FD-335D-E706-B73F6132266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FAA03F69-9796-BAB7-C499-63316CE5B4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77ADD129-C200-EEA7-B242-B404296416D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4F8ADD64-E716-6D63-2DFD-E02444BBC18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0FBB1EF8-0500-84E4-2752-ED3753916B9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47834428-76FF-BA72-7851-610D5A8EF13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7EBDF4B8-D4C1-FB98-D866-35D18B319B0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7877B8F6-B880-887D-E7DE-1992907CC008}"/>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04CA6D0E-5205-A577-A2F4-9EF8527386B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29606113-D849-DB5A-F544-2AE85C3DB67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1DCB3433-2E7C-E912-5A14-C96EC049F0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CDCB539F-B59F-838D-8813-C9D4CB5B4F0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0C5FBDBF-DF0F-5D98-547F-C82B789E536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5E16CEAB-F086-B8C8-9EDD-C361E758AF8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B6020582-F56D-7CF0-3754-A064206EF9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3404518C-E7C8-B03B-188F-76E03657669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68CBF621-1614-4C16-6789-295EDB8D326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101CC1C9-B347-5A3C-4D01-BA4AAAE129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938FEFCD-E413-D3EA-FD3A-546F250B0D55}"/>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9D7040D8-9EA8-A8D9-2875-98D90B18A67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7CC0F441-63AF-F0A2-57AC-3A720EEC5EF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C226E294-0DF6-0E6C-F424-650BC5E0E10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C03B3F02-A880-B7B5-BD3D-087089190AA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B078C89C-FB01-EB9C-BE55-497A6105DEF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AF5675FF-3951-257D-A751-381C2147B07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40BEB38F-26D6-E4F6-5D11-136D4C3C01A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7F89ADB5-E601-7144-32C8-FB19BF2CC7A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A2D37359-5973-4474-95A5-A037CA84C5E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2DCE3F14-CC41-44BE-0BC7-8C095D7B9B6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4" name="Rectangle 223">
            <a:extLst>
              <a:ext uri="{FF2B5EF4-FFF2-40B4-BE49-F238E27FC236}">
                <a16:creationId xmlns:a16="http://schemas.microsoft.com/office/drawing/2014/main" id="{64A1BE1C-9E5C-901F-0600-1766F21476D6}"/>
              </a:ext>
            </a:extLst>
          </p:cNvPr>
          <p:cNvSpPr/>
          <p:nvPr/>
        </p:nvSpPr>
        <p:spPr>
          <a:xfrm>
            <a:off x="730250" y="402577"/>
            <a:ext cx="7953396"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PYTHON SOURCE CODE:</a:t>
            </a:r>
          </a:p>
        </p:txBody>
      </p:sp>
      <p:sp>
        <p:nvSpPr>
          <p:cNvPr id="239" name="Rectangle: Rounded Corners 238">
            <a:hlinkClick r:id="rId8" action="ppaction://hlinkfile" highlightClick="1"/>
            <a:extLst>
              <a:ext uri="{FF2B5EF4-FFF2-40B4-BE49-F238E27FC236}">
                <a16:creationId xmlns:a16="http://schemas.microsoft.com/office/drawing/2014/main" id="{871F07E6-8B68-156C-A497-E7C3FF012031}"/>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pic>
        <p:nvPicPr>
          <p:cNvPr id="243" name="Picture 242">
            <a:extLst>
              <a:ext uri="{FF2B5EF4-FFF2-40B4-BE49-F238E27FC236}">
                <a16:creationId xmlns:a16="http://schemas.microsoft.com/office/drawing/2014/main" id="{C430CF6A-B7C3-7A87-14B6-C79C1FE6B642}"/>
              </a:ext>
            </a:extLst>
          </p:cNvPr>
          <p:cNvPicPr>
            <a:picLocks noChangeAspect="1"/>
          </p:cNvPicPr>
          <p:nvPr/>
        </p:nvPicPr>
        <p:blipFill rotWithShape="1">
          <a:blip r:embed="rId9">
            <a:extLst>
              <a:ext uri="{28A0092B-C50C-407E-A947-70E740481C1C}">
                <a14:useLocalDpi xmlns:a14="http://schemas.microsoft.com/office/drawing/2010/main" val="0"/>
              </a:ext>
            </a:extLst>
          </a:blip>
          <a:srcRect b="87482"/>
          <a:stretch/>
        </p:blipFill>
        <p:spPr>
          <a:xfrm>
            <a:off x="1077658" y="1425576"/>
            <a:ext cx="7828048" cy="604611"/>
          </a:xfrm>
          <a:prstGeom prst="rect">
            <a:avLst/>
          </a:prstGeom>
        </p:spPr>
      </p:pic>
      <p:pic>
        <p:nvPicPr>
          <p:cNvPr id="245" name="Picture 244">
            <a:extLst>
              <a:ext uri="{FF2B5EF4-FFF2-40B4-BE49-F238E27FC236}">
                <a16:creationId xmlns:a16="http://schemas.microsoft.com/office/drawing/2014/main" id="{4121C385-7E31-95B7-ED8C-79D9B13289F2}"/>
              </a:ext>
            </a:extLst>
          </p:cNvPr>
          <p:cNvPicPr>
            <a:picLocks noChangeAspect="1"/>
          </p:cNvPicPr>
          <p:nvPr/>
        </p:nvPicPr>
        <p:blipFill rotWithShape="1">
          <a:blip r:embed="rId9">
            <a:extLst>
              <a:ext uri="{28A0092B-C50C-407E-A947-70E740481C1C}">
                <a14:useLocalDpi xmlns:a14="http://schemas.microsoft.com/office/drawing/2010/main" val="0"/>
              </a:ext>
            </a:extLst>
          </a:blip>
          <a:srcRect t="43746"/>
          <a:stretch/>
        </p:blipFill>
        <p:spPr>
          <a:xfrm>
            <a:off x="1086405" y="2052820"/>
            <a:ext cx="7819301" cy="2728323"/>
          </a:xfrm>
          <a:prstGeom prst="rect">
            <a:avLst/>
          </a:prstGeom>
        </p:spPr>
      </p:pic>
    </p:spTree>
    <p:extLst>
      <p:ext uri="{BB962C8B-B14F-4D97-AF65-F5344CB8AC3E}">
        <p14:creationId xmlns:p14="http://schemas.microsoft.com/office/powerpoint/2010/main" val="347435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A1573-FF05-1EFD-8279-3D453C295D5A}"/>
            </a:ext>
          </a:extLst>
        </p:cNvPr>
        <p:cNvGrpSpPr/>
        <p:nvPr/>
      </p:nvGrpSpPr>
      <p:grpSpPr>
        <a:xfrm>
          <a:off x="0" y="0"/>
          <a:ext cx="0" cy="0"/>
          <a:chOff x="0" y="0"/>
          <a:chExt cx="0" cy="0"/>
        </a:xfrm>
      </p:grpSpPr>
      <p:pic>
        <p:nvPicPr>
          <p:cNvPr id="225" name="Picture 224">
            <a:extLst>
              <a:ext uri="{FF2B5EF4-FFF2-40B4-BE49-F238E27FC236}">
                <a16:creationId xmlns:a16="http://schemas.microsoft.com/office/drawing/2014/main" id="{AA3819E0-9B91-27F9-B0A7-79E35274D3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 y="-39226"/>
            <a:ext cx="12230713" cy="6926138"/>
          </a:xfrm>
          <a:prstGeom prst="rect">
            <a:avLst/>
          </a:prstGeom>
        </p:spPr>
      </p:pic>
      <p:graphicFrame>
        <p:nvGraphicFramePr>
          <p:cNvPr id="104" name="Object 103" hidden="1">
            <a:extLst>
              <a:ext uri="{FF2B5EF4-FFF2-40B4-BE49-F238E27FC236}">
                <a16:creationId xmlns:a16="http://schemas.microsoft.com/office/drawing/2014/main" id="{0183A37D-D738-5B09-523C-F824C504ED7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37992185-E3C6-3C7C-2021-90ACF95CEF2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FB5F948-F3BA-2001-C988-E60603BB2D35}"/>
              </a:ext>
            </a:extLst>
          </p:cNvPr>
          <p:cNvSpPr/>
          <p:nvPr/>
        </p:nvSpPr>
        <p:spPr>
          <a:xfrm>
            <a:off x="-7337" y="-39227"/>
            <a:ext cx="12256003" cy="6953733"/>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99C1FC40-9D9B-613E-98EB-8E6D343CD31A}"/>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7C3C8A68-2983-AC29-A6A3-D25818B8053A}"/>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522FA890-6A2C-F115-A3A7-1B70588AEF62}"/>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8EFF4C79-8E06-B188-02DA-FF1FBB454716}"/>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0" name="Oval 229">
            <a:extLst>
              <a:ext uri="{FF2B5EF4-FFF2-40B4-BE49-F238E27FC236}">
                <a16:creationId xmlns:a16="http://schemas.microsoft.com/office/drawing/2014/main" id="{8E8DCA6E-7498-3858-693F-B0379E3AC598}"/>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4C530174-E61F-6423-F7AC-4D3141BBF022}"/>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E6C39DFB-E418-8589-1BC4-EEA9AF3E0BB3}"/>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60BAF7F1-A56F-AE0F-1F03-7BC70259731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9C17C3DC-8001-9C90-AC6F-FE72B2FF95B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72095AC4-2CE0-52E9-09D4-CFB2F240EC6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1C6C4420-E86F-883E-C14F-AF8576D0207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95DDDAAB-DEC9-5C83-E7AB-DAA60B2D3DD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6198A5A8-64D6-70C3-1D14-7533EEBF89B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0F677B79-93B9-06EE-9F47-D7BA3E8FDC2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6E6893EE-6D79-8D1D-B624-2DC55F74F9A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12DAA6F2-9225-8963-FE93-4B42E22649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1441A4A9-A46E-D279-816E-032DB561B0F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7B1643B8-2EF7-8F74-3CE7-06D4D666D514}"/>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F3E8B466-3FE6-5183-397D-BF220FDFB68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6445C280-982B-3D86-C5EB-D8EAAD52E26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E3FCEF4E-2152-8FE8-F947-33F12DE25ED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3CC717B7-FE4C-2C9C-9D28-DDC16CB1C59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3DF20F2D-A4F9-C285-E803-1FFA38DF8E0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BACA2CE7-B26F-FC4B-FC71-85B4B2ABAF0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E04695B5-2D2F-C1ED-13C4-A9A02AD51E9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8D1FE291-A955-D11F-2A54-56D4854D6DB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0113D7A0-E450-8857-B642-B84114A5F57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54D6E004-9095-63AF-A460-2511DA2EB7D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76D7C7E0-AC54-80B6-75C2-016C3BD0B7F0}"/>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2689CEC9-F7D3-2BB4-6FAB-7D15BAD34BE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F679DD2C-A098-3D32-BCDD-16BDDCC7F92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901259F5-EF31-5687-AE46-2E5C6CFC2D0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4A5DEB75-6F08-436C-C94F-ADD6CD49668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950DA8E5-6138-BCA2-20AA-5A1CA874336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0C76E991-A5A0-77CB-6960-BFB4458A90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042DAF85-352B-6FA3-6F00-38C98F0A594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4DE56389-A544-4778-8E47-45DF12EC7FE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B721BC4A-07E5-A19E-DE99-47475162331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83212AC6-8941-5BF8-36F4-E1C1EBEA10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01151936-89EE-1EC3-7025-383B811EEC1B}"/>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81939006-53B6-86F9-6886-D99E1A6ED36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035BD9FA-F7B7-9796-0079-EFFFA30824D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1534EC0C-60FB-68F2-D5C6-79AD7B369FB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9E81968C-0278-ED7A-7027-9FD8DD9A703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C1AB536B-ECFA-94EA-BFE7-42EC69AF541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3718DFD0-C6BF-ABCD-8799-8B22E56D445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8CDBDC66-C552-AC12-5B76-7C22ED44FA5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A12A4671-0D96-399D-6836-FD5B02767F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96504A4E-B01D-7098-5AE4-507BF12FCD2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EEF711D4-7208-D155-2E08-6A5C76D57D4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a:extLst>
              <a:ext uri="{FF2B5EF4-FFF2-40B4-BE49-F238E27FC236}">
                <a16:creationId xmlns:a16="http://schemas.microsoft.com/office/drawing/2014/main" id="{206397AE-AA46-DF0E-A10F-41A87CAD3ED0}"/>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AFE378FE-FE76-2A4F-8BCA-6BDF52B6D1DF}"/>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3FF96660-C2C2-7CFB-52E6-0BC6F559A19B}"/>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1383CA24-BE35-773B-8309-F21C241B27A4}"/>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6273CB7E-B408-E546-0654-623026D3A496}"/>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572B82FA-E2BD-32D7-F6BE-E80D3D1E3ACA}"/>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EE64CF90-15AE-B02D-D6C3-84089A4BA59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6A1D6167-15F1-482F-FA52-A85DFAB8A13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B4BA1C74-2E2E-B23D-FA4D-56E7A6FBBEF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37A4EF1C-A4ED-0CF3-55D6-07123DF9E34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C0F37A4A-8CC9-DECA-529A-D9192F61F16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FB3F8C34-B704-5243-A435-E0E2AC406D4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00CF260D-3585-1143-3AE5-880447DEA6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1EC1AE95-9257-17F4-AE0E-BE625756269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8937EF76-C762-1E87-FABD-DD66B7E02FE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B32B8CD9-24B6-961F-8E45-ABF79E38A8A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6E8A20DD-929E-C49F-D98C-F4A493BF2926}"/>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9841F38F-3B37-420D-0576-9EEFFCF7BB8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C2D80FBA-B780-8132-5BB6-64B2D78518A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ADF237CA-12B1-31FC-92B4-0ED42F8287C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277ED995-B2D2-3D22-267B-B39F3EEAECA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393B9A54-7005-CC61-B627-8E4FBB5496B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A0EA3C85-2FA8-675C-C9EF-91E19601AE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313BAD8B-A50A-609C-EC06-CFBEAC2E84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560C83D0-378D-D262-D81E-40FE1727A77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D11BFC9B-D364-C4A3-FF3C-7CBC816E177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0C168FBE-3992-6FD0-0A5C-9CC749ACD90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7991EAA5-2BCC-8C57-1433-BC732363A926}"/>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028AE5E3-9605-C541-316D-6C6A64703C3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8CB0FCDE-4A25-EA9C-7D28-9D6C83CBA41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4FFDF6BE-296B-52F0-5707-8DC407BD5DD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739EF48A-E0ED-8274-7F30-9B2571749B4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4569408E-A214-0F53-2BDB-DBFAB6B7039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4F402885-0E15-5D8B-0284-C932F059E0D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F6D6CFB3-3650-15A9-B6CC-BA5D03ECEC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5B45108C-03B9-D902-04DF-6BE69673764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3D568FFE-F8F5-AE34-B661-826FD9A86C9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E8963934-1620-8960-DC55-222AEF9D59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4B5D5F29-EFFA-5AF8-468B-5F811B017A8A}"/>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A8DA8085-FCB3-376D-862A-EA1AE798239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41F6F308-D1A3-4B08-FA20-D4F5FF29801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F038A6CC-D26E-9B27-B338-C87A40B0B40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6F76EF76-D783-4F43-09E0-5AB3D012A8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B982138A-334E-067E-A00F-977A487FF0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FE2C4AF3-6ED4-7A6E-6E9C-40F73E4156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142D903C-FA42-D13E-A979-10B93CCE341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E8DD055C-FC69-9A58-D682-76E1B1C4FF0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EEC4738C-2996-9A66-9038-A74C1CA2F1E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2908869F-D10D-DB02-4275-112B587AF79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490485A3-2605-2F4F-D867-4A8D8068CB5A}"/>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A478A32B-7612-D707-9A03-CE05CA385CC8}"/>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6C05E96B-C483-3596-04D9-1BAE33FF4E8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D5C48203-708F-17CF-DD4C-A85E6EA0A1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59C25405-EC89-AC1A-7FF5-168D4A2A73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F704E377-A51C-8D2E-B8DD-F57EA3D49A7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C931845B-2F22-8D16-85AE-06593EA8C35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F1AE6D09-CE59-B7A1-8A78-91FF13C05F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A7C1A3C2-23B9-CF66-9CC3-DD1D9D7AF8C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800A73F8-BF05-FD95-0EFB-A85438450A5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2CDF9472-F942-87E5-6660-F6F84370277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FE1BE70E-9467-7BFA-5F2B-D910F5E2175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1DEF0571-CE18-56DF-F62A-464E1CF8E122}"/>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260BE2F9-0643-0734-97F5-EF4D6D4AA55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1D3B2F4A-F8CC-E9BB-B913-B376E8F8F5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2FB61CFE-B929-D866-5A26-4526C8EF315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8CF0EDCF-1094-CD9E-BA2F-09148E47DD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C8850419-FEFB-70EB-4250-8E4556BB047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24AC715A-4A4B-0DB5-B829-C2BAA1470F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5DF57B96-031A-F408-381F-61253E221CD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7C45FF7C-635F-7105-FBFE-447BE592DD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8FC227E8-FF7D-5964-4275-C8DA74F827E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499EEECE-C721-9549-8ED2-12EA710745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8916E912-48EA-2740-C19E-446F57282A85}"/>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4F7F8E8D-C1C5-31A1-E937-836AE6DD763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59303742-BBEF-1C47-9273-5A4A024B15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96C2CA1F-0137-BC1E-A3EF-F445758F513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FFEDC07A-F091-1D4B-D76A-2A4024018DE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8E8B9E1C-D2AD-2360-5AF3-F27717872C7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28926EF6-E90B-D586-9233-FB592D7BBC7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4737548D-190C-D826-CB69-C28CDFA3D9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345F461A-C798-5F35-87F2-56537A97A69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C3E3F062-C59C-8E51-3D2F-2B8C6BFDEBD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BADA15D0-17A0-72D1-F7C2-3801A26763B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9F546216-ACE7-4A9F-8DC9-C8072256164B}"/>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95E71A2D-DFC0-CF49-DF18-F94B703EE4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A0C83D07-5B54-4F28-8661-EAB90B6E9F8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033BE47B-F9FD-EDC7-77F0-E442FD454AA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378D1CA4-3D7B-A553-3982-7704D02B312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17FB8777-F175-1B5C-6B37-1FA1ECED669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CB6D07B5-A074-19EA-3F01-1A815C8029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3C5056A1-2B25-EC68-2C17-9D964E6794E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8BADA6DE-9501-C6DA-6E2B-C2BD0A952A5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378D7AB8-02B7-6F77-4248-FE62DBA46A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3A77E759-70C2-AC18-034A-A61216BAA63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519CE538-3FB3-D22F-51DF-D3BB845E1000}"/>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19D5BFC5-800F-8CEA-8CA8-6A250A079335}"/>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D0D66241-2320-C712-6FF6-C7D9FA6C977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65FD51BD-4AEE-9785-85EC-5BBE39FD0AD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76340977-BAF7-931B-DAA7-8680F2D6D84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130926B2-3480-298C-A6D7-DFDE3FB339B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8AF099FF-8C80-8121-965E-F646DB3624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A6161113-CFD5-3B53-776D-A51734DF47D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863BE04A-6863-965F-B45B-A4CF0A48DBA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A47B94BE-B69E-F638-5559-2054FCE7D4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B93F0AD1-D66D-7295-6DBE-CD6A2102F3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87AFBE17-8D41-CE47-2281-D19A5D9A372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F3A2F23F-E3D2-42B1-DB81-C4F79A487829}"/>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E362B378-11F1-9D60-CB54-4EE1D8061B2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D5C2C414-A83B-8B5A-1646-F8487A78D9F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24F06C19-A52C-CE98-9313-F465AE8F6C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3AE989FD-97F5-5875-028E-95B115AD929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0C8BBBB0-5203-DB69-37E8-10A7FE12DD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F96D081C-2529-CFCA-E639-E7135BD8D1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7D48C239-9405-E248-BB30-BC606CFA0FB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923AB82D-9323-48F2-3C29-7FB5A93A4F9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B4F7DED9-149B-7756-F788-57C8D9FBD2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9531DFB3-8952-FEB2-A3DE-9789A770CE7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26726439-21C2-CB9C-1D9D-0C6B8A000053}"/>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34B0E465-625B-CC0A-454D-5CF6C48A193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BD6C8387-FAB2-1DA6-FBF8-C46B38917BE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04778C4C-9E5B-5EDF-E7FC-793ED52C39E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4ECF6C68-DC7F-5B4E-8D35-E4DE5585F99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680F1A59-EBE7-5755-DDD8-4C28C2A07B3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E256C028-2339-16AE-6FBB-8B9FF82CB58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48BB0471-AD37-A062-EAA2-C85DC61DEF7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C5517B5A-ED74-E98E-28DD-2F2AD8672A8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7E4D02D7-80E6-344A-F9B8-1496FDD3318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336941CB-4BFD-0FED-E70E-C12E62537BA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D8B0D9C1-889F-B4F2-FBC8-5C6F6526713D}"/>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E2F9F61C-FF45-79DF-5805-46C8F808C0D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283907D3-7C1A-3F7B-2DB3-3A2FA81EC78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E3D88388-22D1-3104-0B2F-1568FDC4E3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0D8EFB62-2FE1-1F2C-ECD4-DFEB019ABB1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88FBF42B-5DC6-956A-9959-E09D09206B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61A312BE-03A1-354F-E1A8-1B01C6E3112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7381963D-966F-0C49-01E5-96383B67F95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07D50236-86D5-AA87-406A-39A9253B945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DED437D0-0766-360A-61AE-21F2E70352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59864AAB-1C27-C508-2F7C-9350517BB46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4" name="Rectangle 223">
            <a:extLst>
              <a:ext uri="{FF2B5EF4-FFF2-40B4-BE49-F238E27FC236}">
                <a16:creationId xmlns:a16="http://schemas.microsoft.com/office/drawing/2014/main" id="{64A1BE1C-9E5C-901F-0600-1766F21476D6}"/>
              </a:ext>
            </a:extLst>
          </p:cNvPr>
          <p:cNvSpPr/>
          <p:nvPr/>
        </p:nvSpPr>
        <p:spPr>
          <a:xfrm>
            <a:off x="732901" y="402989"/>
            <a:ext cx="7953396"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PYTHON SOURCE CODE:</a:t>
            </a:r>
          </a:p>
        </p:txBody>
      </p:sp>
      <p:sp>
        <p:nvSpPr>
          <p:cNvPr id="226" name="Rectangle: Rounded Corners 225">
            <a:hlinkClick r:id="rId8" action="ppaction://hlinkfile" highlightClick="1"/>
            <a:extLst>
              <a:ext uri="{FF2B5EF4-FFF2-40B4-BE49-F238E27FC236}">
                <a16:creationId xmlns:a16="http://schemas.microsoft.com/office/drawing/2014/main" id="{B2711504-11F1-ABE0-C702-61CD888DB704}"/>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pic>
        <p:nvPicPr>
          <p:cNvPr id="234" name="Picture 233">
            <a:extLst>
              <a:ext uri="{FF2B5EF4-FFF2-40B4-BE49-F238E27FC236}">
                <a16:creationId xmlns:a16="http://schemas.microsoft.com/office/drawing/2014/main" id="{951B0D9A-7AF2-E1BC-F296-BD48EC85D3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9683" y="1425575"/>
            <a:ext cx="7828043" cy="2962611"/>
          </a:xfrm>
          <a:prstGeom prst="rect">
            <a:avLst/>
          </a:prstGeom>
        </p:spPr>
      </p:pic>
    </p:spTree>
    <p:extLst>
      <p:ext uri="{BB962C8B-B14F-4D97-AF65-F5344CB8AC3E}">
        <p14:creationId xmlns:p14="http://schemas.microsoft.com/office/powerpoint/2010/main" val="406951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029FD-305E-07F0-AA86-8FB9EEEA7EC4}"/>
            </a:ext>
          </a:extLst>
        </p:cNvPr>
        <p:cNvGrpSpPr/>
        <p:nvPr/>
      </p:nvGrpSpPr>
      <p:grpSpPr>
        <a:xfrm>
          <a:off x="0" y="0"/>
          <a:ext cx="0" cy="0"/>
          <a:chOff x="0" y="0"/>
          <a:chExt cx="0" cy="0"/>
        </a:xfrm>
      </p:grpSpPr>
      <p:pic>
        <p:nvPicPr>
          <p:cNvPr id="230" name="Picture 229">
            <a:extLst>
              <a:ext uri="{FF2B5EF4-FFF2-40B4-BE49-F238E27FC236}">
                <a16:creationId xmlns:a16="http://schemas.microsoft.com/office/drawing/2014/main" id="{4888E15C-FB00-526E-B177-652DE96B18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 y="-39226"/>
            <a:ext cx="12230713" cy="6926138"/>
          </a:xfrm>
          <a:prstGeom prst="rect">
            <a:avLst/>
          </a:prstGeom>
        </p:spPr>
      </p:pic>
      <p:graphicFrame>
        <p:nvGraphicFramePr>
          <p:cNvPr id="104" name="Object 103" hidden="1">
            <a:extLst>
              <a:ext uri="{FF2B5EF4-FFF2-40B4-BE49-F238E27FC236}">
                <a16:creationId xmlns:a16="http://schemas.microsoft.com/office/drawing/2014/main" id="{F45CCB4A-656F-E108-4535-E80ED1DAAD5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0183A37D-D738-5B09-523C-F824C504ED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7A838E7-94EC-FBA8-A2B0-5E0BBDE638DE}"/>
              </a:ext>
            </a:extLst>
          </p:cNvPr>
          <p:cNvSpPr/>
          <p:nvPr/>
        </p:nvSpPr>
        <p:spPr>
          <a:xfrm>
            <a:off x="0" y="-12827"/>
            <a:ext cx="1222932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C6FDF627-5BF2-6A31-078A-CB996455D165}"/>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B445B6F1-1458-8BAD-95B3-F91179457FE6}"/>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243AEC36-4554-BC4A-D0F4-567075A8F542}"/>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3953D248-01E1-F0CE-9D19-48684BCEBE5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3AE9E8FF-9E86-64D1-7615-F4064DEF628F}"/>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1A145227-5D92-0E0B-4E5A-530569A97FE7}"/>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75201431-3E00-6101-6B3C-F04A78AB434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E698A9C0-2BCF-5383-8F74-638D7A7DA32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F6A579D5-F519-419C-2DF2-83A666FC2DD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BABF2C71-38AE-2991-E54C-36336DCA403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17F5FE41-4E1C-24EB-4ED0-1BC63CF6DE0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9D7CB7D7-5FAA-E56E-543F-4B3E42D3F60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90DE5968-6DBF-A7E6-934F-B6D4376F31F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9C43FB86-DA41-A831-4CE2-1B8114FF1E8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E5BFB4AA-26A5-FBB1-7DB1-742F9B3EAC3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4E6A8E5C-E4CF-C787-D180-58793E3A22C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9BB69CD3-15A6-29FA-10CE-7E37597ACD65}"/>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2CF422C4-8902-B630-00F7-BE17DCAA61B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4B312EA7-B9B7-B5D9-5337-40BBA0F88FA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AAF63F7C-B852-719B-63FA-24C32B56F29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9B9F2DFD-E399-F90D-433C-439F4659DB5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F1748B94-80B4-D3C1-F8AE-BD46A7E8A11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88397890-EC62-FDF0-0876-437A8DAFEB5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5D0F9EE5-1896-7242-B788-8818B5B3909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563A2A93-DC83-8CA7-0815-BC881AE60D8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C3D5A5C8-052B-A36D-F378-30285A899C0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AFEEC1EC-284C-D365-1070-405B42CD968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FDA80DE8-5594-F5FA-3BEB-92747607E81C}"/>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D22FC18A-B8D6-064B-444C-194F60E80D7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8026C47-2AC8-55AB-B4B6-95811B05AE1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8539292-6894-4185-BD58-48B66954EF9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7B7D800C-204A-8F81-7869-CE1E5E9665D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1E11D03D-2E51-5910-6368-B374A5F6B72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2A3E31DF-CD8D-F723-C840-54A94D3C745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3393AB88-752F-53C9-D047-0A91E84A43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3030226-5E80-4F42-9104-6BA71BC2A37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68161584-B2B6-B76F-E403-3A7EBC9CBAB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0A7B0407-7AE9-583C-F51D-A25FE258EAD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1703133F-0A61-DCF6-15D0-660EFEC19849}"/>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2D2674C1-A210-AA4B-4F56-56001AD06B4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CD880A91-83F2-EB0B-592E-874704F2312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13FE3D36-03C0-E25D-70BA-02E80FAF79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CCD48D41-0B55-8B07-27F6-BF441605BD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723CDF8A-3333-FCC6-0540-09D54E0700F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8BADFAF9-136D-813F-B3B9-961761E7757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44304319-4DE1-FC4F-77D5-DC1A3FED8FD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43296104-6769-6535-63CA-9BCAA696413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44BBB43A-F44A-05B6-08A3-3031FA8B86E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6C1F02AC-8FEA-43B3-519D-E9BBB3C9D5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33" name="Oval 232">
            <a:extLst>
              <a:ext uri="{FF2B5EF4-FFF2-40B4-BE49-F238E27FC236}">
                <a16:creationId xmlns:a16="http://schemas.microsoft.com/office/drawing/2014/main" id="{E2987DA7-1B4E-F98A-5C35-ACE54334EAA8}"/>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AB17F370-ABE8-017E-4FEC-8F770596FDFC}"/>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55F9D1F6-60CB-5C83-0ADF-106B424022A2}"/>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0BEF1AE9-55CF-C923-154B-26085578185E}"/>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C3EDDB90-C6F8-29E1-CF15-D6B45B678F24}"/>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01A7D755-7B53-0A5B-8428-5A2894AE2F98}"/>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FC856FD2-462A-F376-BF87-664A3468873A}"/>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A3DBD322-B19E-9C04-8B19-02C2CE04E4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18DA6191-0C8D-561D-C1BA-77BC8A46691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8FABFDF4-2BAA-BB7E-7DDA-92D01FAA6F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3FDBDA3D-30DC-9344-BB88-70B317AB194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DAC2FB74-342D-FB34-3036-FCAFCB8649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299D19CE-1622-FA6D-EB19-EE663B1A29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FDB6DBE2-E3A4-FBEF-B4E6-2B0DD48B5A6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A4C95B25-D4D8-63E7-5294-8351704729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A20BDE02-FABC-B3A4-9563-5D0EE6A425E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4F896682-F06E-D5E2-F35F-D2BB173581C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2B1D790F-E087-D2E1-0890-D2EAEB27137C}"/>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8871BDD1-A78B-8CA0-29BE-32B5541949C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6FCC684F-BD6A-0DBB-7E69-69464384CF2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E7BBBB7E-819D-0C50-A2FE-738FB8F619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987201A5-400E-C145-7058-7BFBF57435F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2B58FD76-A69B-89D9-EB51-E85743E1BF5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CCCB8972-E5BA-B9EF-5565-2152B6C4E5E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784D8466-B5E9-0B22-3257-7AF5A94B2BA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B17109DF-1111-9E1E-9370-38969075D44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C9F99AC5-2FEF-3525-7BD3-6E679C50868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2A53042B-A02E-02A7-B93A-056E4E394CC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0C6BC6C3-3191-981C-7C9F-64440DDDDC30}"/>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DFE2F19A-B90E-D04E-A1B2-EFF33662E7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6837D33F-42F6-C575-898F-6DCA8884323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67189AE6-83E7-4231-1982-DC4BA8A97CE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EAC04280-7C61-026F-76B6-65BCBC3AA5B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3B20D088-C13E-75B0-E551-56265CE981C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E554B0F7-E2DF-EA3D-FBB0-3D006783261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F95FB59B-5077-3D65-E959-A6B0533AA3A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386C68B9-BCDA-3531-2BE0-1C3EA0EBC9C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ABADB59D-5A55-95A7-9399-C24BB91AF3B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7F4331EB-9E74-2903-3A84-4CE796A7ABC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1B27BB77-34D1-3C8A-CBBC-6AA27BD03EBE}"/>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C3B22D40-1741-B70B-C16C-3996A286DE2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382E2D84-CA79-0986-AF04-21CF3D4DA51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4AEE4A77-736F-14D4-0881-E963BEFBFD2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5BFE9AEF-596E-C228-6215-19ECA23AA3D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C167EE5B-0EFE-EAF5-02B8-9EC908EEDB7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A0EC6FF7-890B-33F6-817C-4E5A6718ABC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27E8E66F-E606-B3C9-B85D-7C5254D06DF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783818B8-D64D-AEEB-3771-ECDA0B80E0F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E5B08E4F-6543-A3BF-1167-4EA0FE2B036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FA71DB09-9D01-725A-558B-69728593B32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1264759C-C329-80CA-E14A-203B54A88427}"/>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A4E54AE2-37E3-2B77-AC43-55B1E16805B7}"/>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33A84970-4989-EC6C-CC21-7398A81F91F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F1368027-68DF-FAC9-238A-58676BDB08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95188E69-1773-9C58-A5DA-11637DBCBE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C6A4E7CA-F040-BCD1-20C3-D46FF78A92C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D4625144-E4B6-3B1D-133E-F912B11D027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5F9FEA07-A2AC-EEA9-7F0A-6A4C7E77F08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0C053FBC-73A0-3C52-321E-6720B418EAC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49FAE1E4-2F62-A5D8-6BC5-4303E6ECD56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9DCA0BB1-5245-E724-A240-907EF00A304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7728A628-C2A4-115D-2DD9-5E3AF1566DB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EB9F47CB-98DF-51BB-B447-81B5E66A8B78}"/>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9686E1FA-5F66-86D4-19FD-D22FD35F3DA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78594FC4-07B1-88D2-0DA0-E529E6D830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BCBAE084-35B7-CA44-0160-551862B2CB1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0F88DB2A-0F74-8B03-65CA-CED0B44E0DD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054FC3D1-E6A2-FC9A-CE72-1BF9A18C4C5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1CF2D27B-C718-899A-E145-E460F5C079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59E6BC63-811B-4BD4-330D-C71BCFED796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9594AFE2-F3FE-5A35-21EE-FF4D497123C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9A6D0511-9C7B-5BA0-B9FC-920236585A4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AAACADF4-7C44-B94C-29A2-ABEFF7E9CEB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3C833CD7-33BA-B1D5-F352-77CD8D43FC25}"/>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1DABA3E7-6716-BC37-A814-E7155DEDEC0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EE037CBF-B318-0CFB-ACBA-E034CF3F7B9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A0B3C474-FCC9-DED5-6011-A78711DC37E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940CB3E1-3902-1BAA-3CAE-67667BB2C7B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F40603EF-2182-5EB0-ABBC-B262823B927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BECDA577-D446-4803-686E-F4E07C8B01D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A288DE63-32F6-1B25-0EE0-596401DB45F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99C79790-45D4-7D4F-C8AE-47F83817962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8987789B-E880-49F0-CD49-AAA86C727E8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B71470B6-5239-CA01-EBD9-DED77D083B2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1BBFC674-25E6-47D3-0B60-CF485166AA24}"/>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F51737E7-33B9-EB86-BCC7-5055860263A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4AC86534-BBDD-FA20-EBD1-19708042116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DC116D81-971E-8EFC-DAB0-BF877F00DB2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8FF058D6-B2D3-C489-1BC0-6011A2999F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897CCC0A-3126-08CA-F4B4-96A08CA3516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D816E244-8807-8CA1-A78F-FB74BD97238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DEE29EF9-3277-F87B-57E8-0F6CC8EE6FB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877CE0AA-FA19-F7FC-C524-A7F59BB28AF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4E8800C5-5759-027A-D7BD-B578EA043CB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6C890AB7-89AD-F3EA-58C7-83622FF0E81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15F2ED39-3335-3665-4118-025D5EC0E49F}"/>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1283745B-B840-5012-3D49-D7E0AB37FF10}"/>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544E1089-44C0-0EA9-F780-B45D8F61E14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F4FDBDEC-7AE2-47A3-C036-C03022F09EB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192532FE-5A83-93F8-0AC5-5DAFE864DB2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AC5280AD-A548-E0EC-3740-E008D80599D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54CC150E-B697-3F27-1AA8-19A88662B94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8138A953-E809-17D5-54CB-38A022382D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B7FD6726-D696-F9D9-B76A-0D1E3A6D426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91D7D906-95A0-E7DC-110D-1ED82AD0355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50DA0962-B0E6-14EA-1F61-12698A151AF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8C4ACF85-D636-DE36-4183-3BA2F0AB581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CD1BE2BD-9BC1-6418-918A-906FF4FF3794}"/>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7F1F2DAF-A8C0-BF34-7536-F7AC663F99B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CAACE514-BCD3-4E84-055A-F316E9A2CB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C2DABF3B-091B-E38B-EAE8-1B4E4C77303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358F7990-A097-3FA6-C74E-1D96F92349B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72F779C5-1761-28D4-6669-AE140636457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AA7B70ED-457B-D6B1-F390-3A1A46AAAC5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70CD897B-8AF1-364A-AFE0-A0D90B7922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29C5F507-9093-6782-A80E-D075C2D585E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2C87F98F-360F-51E0-0FE6-6591448C03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8A029A24-999D-1C0B-7EC9-C5DDB961EED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DFB91ED7-4213-17A4-5396-3516894CED60}"/>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EB78A5E5-839A-0211-F64E-D4723F73134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B312636F-CD6F-7941-4FCC-90056BB7F7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52A09F20-9886-1925-1D91-54C51388ACB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258D76AB-FCC5-E3AD-334F-2BDD8351617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6F58B534-FF08-2DF1-04EA-B80F1C1E983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6084B7EE-228F-0D0E-8DF0-BF40DBE3D13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E2B4ECF6-9A25-739C-624A-CDBE74E666E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F20870DF-02C5-71D2-8966-916A9E6D40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0DDB8D03-E1CB-4869-1834-7C1C2F1358C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79B54F66-1056-584F-8D24-BEBE02F5E35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DD7DFA7D-84C2-67B7-D5ED-309B2C4E808C}"/>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EB0CA1F3-0789-6644-D147-C65B1CAFD31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15CF2D7A-E7E9-CA90-BAFA-128B17E2481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62F92E12-6FB7-17BA-7907-303FCFC3CEE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57300C68-EC0F-CEA1-59A6-5B0EB0E94A7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E0BC20FA-8C50-58A2-C22D-A3556184CD7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9DD75ED3-A8E3-D869-60C8-7E80D3D6E26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D5B22233-E72C-B2AA-C1E4-96909B6DB4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ED9FA13B-1DAC-72F2-5B0D-421E5DEA7B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705AE36C-3EA5-7C4C-0CCE-0FFFFCCA275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4A3428A9-47D7-F51A-EA5E-41CEEC376CF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5" name="Rectangle 224">
            <a:extLst>
              <a:ext uri="{FF2B5EF4-FFF2-40B4-BE49-F238E27FC236}">
                <a16:creationId xmlns:a16="http://schemas.microsoft.com/office/drawing/2014/main" id="{BA636164-D01F-36FA-65A8-0CDB33FDBB73}"/>
              </a:ext>
            </a:extLst>
          </p:cNvPr>
          <p:cNvSpPr/>
          <p:nvPr/>
        </p:nvSpPr>
        <p:spPr>
          <a:xfrm>
            <a:off x="1412060" y="1156986"/>
            <a:ext cx="2465740" cy="830997"/>
          </a:xfrm>
          <a:prstGeom prst="rect">
            <a:avLst/>
          </a:prstGeom>
          <a:noFill/>
        </p:spPr>
        <p:txBody>
          <a:bodyPr wrap="none" lIns="91440" tIns="45720" rIns="91440" bIns="45720">
            <a:spAutoFit/>
          </a:bodyPr>
          <a:lstStyle/>
          <a:p>
            <a:pPr algn="ctr"/>
            <a:r>
              <a:rPr lang="en-US" sz="4800" b="1" cap="none" spc="50" dirty="0">
                <a:ln w="9525" cmpd="sng">
                  <a:solidFill>
                    <a:schemeClr val="accent1"/>
                  </a:solidFill>
                  <a:prstDash val="solid"/>
                </a:ln>
                <a:solidFill>
                  <a:srgbClr val="70AD47">
                    <a:tint val="1000"/>
                  </a:srgbClr>
                </a:solidFill>
                <a:effectLst>
                  <a:glow rad="38100">
                    <a:schemeClr val="accent1">
                      <a:alpha val="40000"/>
                    </a:schemeClr>
                  </a:glow>
                </a:effectLst>
                <a:latin typeface="+mj-lt"/>
              </a:rPr>
              <a:t>Output:</a:t>
            </a:r>
          </a:p>
        </p:txBody>
      </p:sp>
      <p:pic>
        <p:nvPicPr>
          <p:cNvPr id="226" name="Picture 225">
            <a:extLst>
              <a:ext uri="{FF2B5EF4-FFF2-40B4-BE49-F238E27FC236}">
                <a16:creationId xmlns:a16="http://schemas.microsoft.com/office/drawing/2014/main" id="{61705567-8094-2639-A8B3-9603C7ED11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4605" y="2146322"/>
            <a:ext cx="7334311" cy="3088488"/>
          </a:xfrm>
          <a:prstGeom prst="rect">
            <a:avLst/>
          </a:prstGeom>
        </p:spPr>
      </p:pic>
      <p:sp>
        <p:nvSpPr>
          <p:cNvPr id="231" name="Rectangle 230">
            <a:extLst>
              <a:ext uri="{FF2B5EF4-FFF2-40B4-BE49-F238E27FC236}">
                <a16:creationId xmlns:a16="http://schemas.microsoft.com/office/drawing/2014/main" id="{9B16D3F7-7687-4D85-473C-929DFB24FEC1}"/>
              </a:ext>
            </a:extLst>
          </p:cNvPr>
          <p:cNvSpPr/>
          <p:nvPr/>
        </p:nvSpPr>
        <p:spPr>
          <a:xfrm>
            <a:off x="730250" y="402577"/>
            <a:ext cx="7953396"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PYTHON SOURCE CODE:</a:t>
            </a:r>
          </a:p>
        </p:txBody>
      </p:sp>
      <p:sp>
        <p:nvSpPr>
          <p:cNvPr id="232" name="Rectangle: Rounded Corners 231">
            <a:hlinkClick r:id="rId9" action="ppaction://hlinkfile" highlightClick="1"/>
            <a:extLst>
              <a:ext uri="{FF2B5EF4-FFF2-40B4-BE49-F238E27FC236}">
                <a16:creationId xmlns:a16="http://schemas.microsoft.com/office/drawing/2014/main" id="{6B255389-393D-8D7B-3293-A1F5FB81ACA5}"/>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spTree>
    <p:extLst>
      <p:ext uri="{BB962C8B-B14F-4D97-AF65-F5344CB8AC3E}">
        <p14:creationId xmlns:p14="http://schemas.microsoft.com/office/powerpoint/2010/main" val="8582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AB7AD684-93AC-4186-A461-CCBC20624BB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contrast="-40000"/>
                    </a14:imgEffect>
                  </a14:imgLayer>
                </a14:imgProps>
              </a:ext>
              <a:ext uri="{28A0092B-C50C-407E-A947-70E740481C1C}">
                <a14:useLocalDpi xmlns:a14="http://schemas.microsoft.com/office/drawing/2010/main"/>
              </a:ext>
            </a:extLst>
          </a:blip>
          <a:srcRect l="11475" t="17459" r="495" b="3647"/>
          <a:stretch/>
        </p:blipFill>
        <p:spPr>
          <a:xfrm>
            <a:off x="1352048" y="1898"/>
            <a:ext cx="10839952" cy="6476710"/>
          </a:xfrm>
          <a:custGeom>
            <a:avLst/>
            <a:gdLst>
              <a:gd name="connsiteX0" fmla="*/ 13028 w 10839952"/>
              <a:gd name="connsiteY0" fmla="*/ 0 h 6476710"/>
              <a:gd name="connsiteX1" fmla="*/ 10839952 w 10839952"/>
              <a:gd name="connsiteY1" fmla="*/ 0 h 6476710"/>
              <a:gd name="connsiteX2" fmla="*/ 10839952 w 10839952"/>
              <a:gd name="connsiteY2" fmla="*/ 4207453 h 6476710"/>
              <a:gd name="connsiteX3" fmla="*/ 10799970 w 10839952"/>
              <a:gd name="connsiteY3" fmla="*/ 4258332 h 6476710"/>
              <a:gd name="connsiteX4" fmla="*/ 6096000 w 10839952"/>
              <a:gd name="connsiteY4" fmla="*/ 6476710 h 6476710"/>
              <a:gd name="connsiteX5" fmla="*/ 0 w 10839952"/>
              <a:gd name="connsiteY5" fmla="*/ 380710 h 6476710"/>
              <a:gd name="connsiteX6" fmla="*/ 7932 w 10839952"/>
              <a:gd name="connsiteY6" fmla="*/ 67011 h 6476710"/>
              <a:gd name="connsiteX7" fmla="*/ 13028 w 10839952"/>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2" h="6476710">
                <a:moveTo>
                  <a:pt x="13028" y="0"/>
                </a:moveTo>
                <a:lnTo>
                  <a:pt x="10839952" y="0"/>
                </a:lnTo>
                <a:lnTo>
                  <a:pt x="10839952" y="4207453"/>
                </a:lnTo>
                <a:lnTo>
                  <a:pt x="10799970" y="4258332"/>
                </a:lnTo>
                <a:cubicBezTo>
                  <a:pt x="9681874" y="5613152"/>
                  <a:pt x="7989784" y="6476710"/>
                  <a:pt x="6096000" y="6476710"/>
                </a:cubicBezTo>
                <a:cubicBezTo>
                  <a:pt x="2729272" y="6476710"/>
                  <a:pt x="0" y="3747438"/>
                  <a:pt x="0" y="380710"/>
                </a:cubicBezTo>
                <a:cubicBezTo>
                  <a:pt x="0" y="275500"/>
                  <a:pt x="2664" y="170912"/>
                  <a:pt x="7932" y="67011"/>
                </a:cubicBezTo>
                <a:lnTo>
                  <a:pt x="13028" y="0"/>
                </a:lnTo>
                <a:close/>
              </a:path>
            </a:pathLst>
          </a:custGeom>
        </p:spPr>
      </p:pic>
      <p:sp>
        <p:nvSpPr>
          <p:cNvPr id="2" name="Rectangle 1">
            <a:extLst>
              <a:ext uri="{FF2B5EF4-FFF2-40B4-BE49-F238E27FC236}">
                <a16:creationId xmlns:a16="http://schemas.microsoft.com/office/drawing/2014/main" id="{02BE85E4-35E2-D379-BBBC-4BB5D363EFD0}"/>
              </a:ext>
            </a:extLst>
          </p:cNvPr>
          <p:cNvSpPr/>
          <p:nvPr/>
        </p:nvSpPr>
        <p:spPr>
          <a:xfrm>
            <a:off x="10827" y="-8321"/>
            <a:ext cx="12181173"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Slide Number Placeholder 55">
            <a:extLst>
              <a:ext uri="{FF2B5EF4-FFF2-40B4-BE49-F238E27FC236}">
                <a16:creationId xmlns:a16="http://schemas.microsoft.com/office/drawing/2014/main" id="{8D0B3A26-77F8-4C2A-9560-F5940234AD63}"/>
              </a:ext>
            </a:extLst>
          </p:cNvPr>
          <p:cNvSpPr>
            <a:spLocks noGrp="1"/>
          </p:cNvSpPr>
          <p:nvPr>
            <p:ph type="sldNum" sz="quarter" idx="12"/>
          </p:nvPr>
        </p:nvSpPr>
        <p:spPr/>
        <p:txBody>
          <a:bodyPr/>
          <a:lstStyle/>
          <a:p>
            <a:fld id="{2745C2C1-43AE-4748-AE73-76A74359E3A8}" type="slidenum">
              <a:rPr lang="en-US" smtClean="0"/>
              <a:pPr/>
              <a:t>3</a:t>
            </a:fld>
            <a:endParaRPr lang="en-US" dirty="0"/>
          </a:p>
        </p:txBody>
      </p:sp>
      <p:sp>
        <p:nvSpPr>
          <p:cNvPr id="12" name="Freeform: Shape 11">
            <a:extLst>
              <a:ext uri="{FF2B5EF4-FFF2-40B4-BE49-F238E27FC236}">
                <a16:creationId xmlns:a16="http://schemas.microsoft.com/office/drawing/2014/main" id="{BA88E1E2-0A88-9EAB-51AA-37899249AAB6}"/>
              </a:ext>
            </a:extLst>
          </p:cNvPr>
          <p:cNvSpPr/>
          <p:nvPr/>
        </p:nvSpPr>
        <p:spPr>
          <a:xfrm rot="10800000">
            <a:off x="-2" y="4127502"/>
            <a:ext cx="4569985" cy="2730498"/>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D0FD7BA3-51D7-4EEA-9BA1-B4AAE278A4B9}"/>
              </a:ext>
            </a:extLst>
          </p:cNvPr>
          <p:cNvSpPr txBox="1"/>
          <p:nvPr/>
        </p:nvSpPr>
        <p:spPr>
          <a:xfrm>
            <a:off x="8591546" y="709045"/>
            <a:ext cx="2790829" cy="942694"/>
          </a:xfrm>
          <a:prstGeom prst="rect">
            <a:avLst/>
          </a:prstGeom>
          <a:noFill/>
        </p:spPr>
        <p:txBody>
          <a:bodyPr wrap="none" lIns="0" rIns="0" rtlCol="0">
            <a:spAutoFit/>
          </a:bodyPr>
          <a:lstStyle/>
          <a:p>
            <a:pPr algn="r">
              <a:lnSpc>
                <a:spcPct val="80000"/>
              </a:lnSpc>
            </a:pPr>
            <a:r>
              <a:rPr lang="id-ID" sz="2400" dirty="0">
                <a:solidFill>
                  <a:srgbClr val="168DA5"/>
                </a:solidFill>
                <a:latin typeface="Arial Black" panose="020B0A04020102020204" pitchFamily="34" charset="0"/>
              </a:rPr>
              <a:t>Table of </a:t>
            </a:r>
          </a:p>
          <a:p>
            <a:pPr algn="r">
              <a:lnSpc>
                <a:spcPct val="80000"/>
              </a:lnSpc>
            </a:pPr>
            <a:r>
              <a:rPr lang="id-ID" sz="4400" b="1" dirty="0">
                <a:solidFill>
                  <a:schemeClr val="bg1"/>
                </a:solidFill>
                <a:latin typeface="Arial Black" panose="020B0A04020102020204" pitchFamily="34" charset="0"/>
              </a:rPr>
              <a:t>Contents</a:t>
            </a:r>
            <a:endParaRPr lang="en-US" sz="4400" b="1" dirty="0">
              <a:solidFill>
                <a:schemeClr val="bg1"/>
              </a:solidFill>
              <a:latin typeface="Arial Black" panose="020B0A04020102020204" pitchFamily="34" charset="0"/>
            </a:endParaRPr>
          </a:p>
        </p:txBody>
      </p:sp>
      <p:sp>
        <p:nvSpPr>
          <p:cNvPr id="14" name="Freeform: Shape 13">
            <a:extLst>
              <a:ext uri="{FF2B5EF4-FFF2-40B4-BE49-F238E27FC236}">
                <a16:creationId xmlns:a16="http://schemas.microsoft.com/office/drawing/2014/main" id="{22DEB490-407F-4F15-9DD8-45E1890593CC}"/>
              </a:ext>
            </a:extLst>
          </p:cNvPr>
          <p:cNvSpPr/>
          <p:nvPr/>
        </p:nvSpPr>
        <p:spPr>
          <a:xfrm rot="10800000" flipH="1">
            <a:off x="7777322" y="4091297"/>
            <a:ext cx="4630579" cy="2766702"/>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Shape 15">
            <a:extLst>
              <a:ext uri="{FF2B5EF4-FFF2-40B4-BE49-F238E27FC236}">
                <a16:creationId xmlns:a16="http://schemas.microsoft.com/office/drawing/2014/main" id="{F468288B-FDB2-432C-AB9E-7CAE44E42AB6}"/>
              </a:ext>
            </a:extLst>
          </p:cNvPr>
          <p:cNvSpPr/>
          <p:nvPr/>
        </p:nvSpPr>
        <p:spPr>
          <a:xfrm rot="10800000" flipH="1">
            <a:off x="7509984" y="3848098"/>
            <a:ext cx="5037617" cy="300990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163CC17B-BE79-448F-9A91-0608456749FE}"/>
              </a:ext>
            </a:extLst>
          </p:cNvPr>
          <p:cNvSpPr/>
          <p:nvPr/>
        </p:nvSpPr>
        <p:spPr>
          <a:xfrm rot="10800000" flipH="1">
            <a:off x="7200900" y="3534428"/>
            <a:ext cx="5562601" cy="332357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Rounded Corners 21">
            <a:hlinkClick r:id="rId5" action="ppaction://hlinksldjump"/>
            <a:extLst>
              <a:ext uri="{FF2B5EF4-FFF2-40B4-BE49-F238E27FC236}">
                <a16:creationId xmlns:a16="http://schemas.microsoft.com/office/drawing/2014/main" id="{0A9BDD2B-5175-4282-B5D6-99B90752100C}"/>
              </a:ext>
            </a:extLst>
          </p:cNvPr>
          <p:cNvSpPr/>
          <p:nvPr/>
        </p:nvSpPr>
        <p:spPr>
          <a:xfrm>
            <a:off x="3521515"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Rounded Corners 25">
            <a:hlinkClick r:id="rId6" action="ppaction://hlinksldjump"/>
            <a:extLst>
              <a:ext uri="{FF2B5EF4-FFF2-40B4-BE49-F238E27FC236}">
                <a16:creationId xmlns:a16="http://schemas.microsoft.com/office/drawing/2014/main" id="{9473F574-7553-4DD5-8CB0-1DD4A58D1F98}"/>
              </a:ext>
            </a:extLst>
          </p:cNvPr>
          <p:cNvSpPr/>
          <p:nvPr/>
        </p:nvSpPr>
        <p:spPr>
          <a:xfrm>
            <a:off x="6233406"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8C48295F-5C5A-4AC5-8E51-5B1CB63F328D}"/>
              </a:ext>
            </a:extLst>
          </p:cNvPr>
          <p:cNvSpPr txBox="1"/>
          <p:nvPr/>
        </p:nvSpPr>
        <p:spPr>
          <a:xfrm>
            <a:off x="3788922" y="2789182"/>
            <a:ext cx="1902265"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2.</a:t>
            </a:r>
            <a:endParaRPr lang="en-US" sz="4400" dirty="0">
              <a:solidFill>
                <a:srgbClr val="168DA5"/>
              </a:solidFill>
            </a:endParaRPr>
          </a:p>
        </p:txBody>
      </p:sp>
      <p:sp>
        <p:nvSpPr>
          <p:cNvPr id="34" name="TextBox 33">
            <a:extLst>
              <a:ext uri="{FF2B5EF4-FFF2-40B4-BE49-F238E27FC236}">
                <a16:creationId xmlns:a16="http://schemas.microsoft.com/office/drawing/2014/main" id="{D9919A54-555A-4656-AA88-E8263D6527B3}"/>
              </a:ext>
            </a:extLst>
          </p:cNvPr>
          <p:cNvSpPr txBox="1"/>
          <p:nvPr/>
        </p:nvSpPr>
        <p:spPr>
          <a:xfrm>
            <a:off x="6500813" y="2789182"/>
            <a:ext cx="1902264"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3.</a:t>
            </a:r>
            <a:endParaRPr lang="en-US" sz="4400" dirty="0">
              <a:solidFill>
                <a:srgbClr val="168DA5"/>
              </a:solidFill>
            </a:endParaRPr>
          </a:p>
        </p:txBody>
      </p:sp>
      <p:sp>
        <p:nvSpPr>
          <p:cNvPr id="38" name="TextBox 37">
            <a:extLst>
              <a:ext uri="{FF2B5EF4-FFF2-40B4-BE49-F238E27FC236}">
                <a16:creationId xmlns:a16="http://schemas.microsoft.com/office/drawing/2014/main" id="{61F0F781-FAE4-40CF-8F1B-FA428E3A6C1C}"/>
              </a:ext>
            </a:extLst>
          </p:cNvPr>
          <p:cNvSpPr txBox="1"/>
          <p:nvPr/>
        </p:nvSpPr>
        <p:spPr>
          <a:xfrm>
            <a:off x="3772239" y="4557479"/>
            <a:ext cx="1968013" cy="1169551"/>
          </a:xfrm>
          <a:prstGeom prst="rect">
            <a:avLst/>
          </a:prstGeom>
          <a:noFill/>
        </p:spPr>
        <p:txBody>
          <a:bodyPr wrap="square" lIns="0" rIns="0" rtlCol="0">
            <a:spAutoFit/>
          </a:bodyPr>
          <a:lstStyle/>
          <a:p>
            <a:r>
              <a:rPr lang="en-US" sz="1400" b="0" i="0" dirty="0">
                <a:solidFill>
                  <a:schemeClr val="bg1">
                    <a:lumMod val="50000"/>
                  </a:schemeClr>
                </a:solidFill>
                <a:effectLst/>
                <a:latin typeface="Söhne"/>
              </a:rPr>
              <a:t>A comprehensive overview of the iterative procedure in Hidden Markov Models for parameter estimation from observed data.</a:t>
            </a:r>
            <a:endParaRPr lang="id-ID" sz="1400" dirty="0">
              <a:solidFill>
                <a:schemeClr val="bg1">
                  <a:lumMod val="50000"/>
                </a:schemeClr>
              </a:solidFill>
            </a:endParaRPr>
          </a:p>
        </p:txBody>
      </p:sp>
      <p:sp>
        <p:nvSpPr>
          <p:cNvPr id="39" name="TextBox 38">
            <a:extLst>
              <a:ext uri="{FF2B5EF4-FFF2-40B4-BE49-F238E27FC236}">
                <a16:creationId xmlns:a16="http://schemas.microsoft.com/office/drawing/2014/main" id="{AB1FC1E9-6040-43A6-8C5E-91BCD1513846}"/>
              </a:ext>
            </a:extLst>
          </p:cNvPr>
          <p:cNvSpPr txBox="1"/>
          <p:nvPr/>
        </p:nvSpPr>
        <p:spPr>
          <a:xfrm>
            <a:off x="6500814" y="4600166"/>
            <a:ext cx="1902264" cy="1169551"/>
          </a:xfrm>
          <a:prstGeom prst="rect">
            <a:avLst/>
          </a:prstGeom>
          <a:noFill/>
        </p:spPr>
        <p:txBody>
          <a:bodyPr wrap="square" lIns="0" rIns="0" rtlCol="0">
            <a:spAutoFit/>
          </a:bodyPr>
          <a:lstStyle/>
          <a:p>
            <a:r>
              <a:rPr lang="en-US" sz="1400" dirty="0">
                <a:solidFill>
                  <a:schemeClr val="bg1">
                    <a:lumMod val="50000"/>
                  </a:schemeClr>
                </a:solidFill>
                <a:latin typeface="Söhne"/>
              </a:rPr>
              <a:t>We aim to</a:t>
            </a:r>
            <a:r>
              <a:rPr lang="en-US" sz="1400" b="0" i="0" dirty="0">
                <a:solidFill>
                  <a:schemeClr val="bg1">
                    <a:lumMod val="50000"/>
                  </a:schemeClr>
                </a:solidFill>
                <a:effectLst/>
                <a:latin typeface="Söhne"/>
              </a:rPr>
              <a:t> explore the distinct phases involved in Baum-Welch Algorithm and highlighting its iterative steps.</a:t>
            </a:r>
            <a:endParaRPr lang="id-ID" sz="1400" dirty="0">
              <a:solidFill>
                <a:schemeClr val="bg1">
                  <a:lumMod val="50000"/>
                </a:schemeClr>
              </a:solidFill>
            </a:endParaRPr>
          </a:p>
        </p:txBody>
      </p:sp>
      <p:sp>
        <p:nvSpPr>
          <p:cNvPr id="42" name="TextBox 41">
            <a:extLst>
              <a:ext uri="{FF2B5EF4-FFF2-40B4-BE49-F238E27FC236}">
                <a16:creationId xmlns:a16="http://schemas.microsoft.com/office/drawing/2014/main" id="{FBDCAB0F-B3CE-4874-8464-CAA413961CEF}"/>
              </a:ext>
            </a:extLst>
          </p:cNvPr>
          <p:cNvSpPr txBox="1"/>
          <p:nvPr/>
        </p:nvSpPr>
        <p:spPr>
          <a:xfrm>
            <a:off x="3788922" y="3576484"/>
            <a:ext cx="1902265" cy="1323439"/>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Introduction to Baum-Welch Algorithm</a:t>
            </a:r>
          </a:p>
          <a:p>
            <a:endParaRPr lang="en-US" dirty="0">
              <a:solidFill>
                <a:schemeClr val="tx1"/>
              </a:solidFill>
            </a:endParaRPr>
          </a:p>
        </p:txBody>
      </p:sp>
      <p:sp>
        <p:nvSpPr>
          <p:cNvPr id="43" name="TextBox 42">
            <a:extLst>
              <a:ext uri="{FF2B5EF4-FFF2-40B4-BE49-F238E27FC236}">
                <a16:creationId xmlns:a16="http://schemas.microsoft.com/office/drawing/2014/main" id="{F8EA9CC0-A91D-47EF-88E5-5AC536CAF56F}"/>
              </a:ext>
            </a:extLst>
          </p:cNvPr>
          <p:cNvSpPr txBox="1"/>
          <p:nvPr/>
        </p:nvSpPr>
        <p:spPr>
          <a:xfrm>
            <a:off x="6500813" y="3576484"/>
            <a:ext cx="1902264" cy="1015663"/>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Baum-Welch Algorithm Phases</a:t>
            </a:r>
          </a:p>
        </p:txBody>
      </p:sp>
      <p:cxnSp>
        <p:nvCxnSpPr>
          <p:cNvPr id="46" name="Straight Connector 45">
            <a:extLst>
              <a:ext uri="{FF2B5EF4-FFF2-40B4-BE49-F238E27FC236}">
                <a16:creationId xmlns:a16="http://schemas.microsoft.com/office/drawing/2014/main" id="{538CAC20-572E-474B-813B-24D24A592CC3}"/>
              </a:ext>
            </a:extLst>
          </p:cNvPr>
          <p:cNvCxnSpPr>
            <a:cxnSpLocks/>
          </p:cNvCxnSpPr>
          <p:nvPr/>
        </p:nvCxnSpPr>
        <p:spPr>
          <a:xfrm>
            <a:off x="5531291"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919BB9A-9EAD-4D6F-9EA2-E60039E93024}"/>
              </a:ext>
            </a:extLst>
          </p:cNvPr>
          <p:cNvCxnSpPr>
            <a:cxnSpLocks/>
          </p:cNvCxnSpPr>
          <p:nvPr/>
        </p:nvCxnSpPr>
        <p:spPr>
          <a:xfrm>
            <a:off x="8243182"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CA84C3D-A63B-4B35-94C5-CED7DDCF2FA0}"/>
              </a:ext>
            </a:extLst>
          </p:cNvPr>
          <p:cNvCxnSpPr>
            <a:cxnSpLocks/>
          </p:cNvCxnSpPr>
          <p:nvPr/>
        </p:nvCxnSpPr>
        <p:spPr>
          <a:xfrm>
            <a:off x="10244515" y="1752600"/>
            <a:ext cx="1099053"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53E9FC9F-C111-B983-360E-CB826C62F166}"/>
              </a:ext>
            </a:extLst>
          </p:cNvPr>
          <p:cNvGrpSpPr/>
          <p:nvPr/>
        </p:nvGrpSpPr>
        <p:grpSpPr>
          <a:xfrm flipH="1" flipV="1">
            <a:off x="131620" y="221502"/>
            <a:ext cx="1729654" cy="848268"/>
            <a:chOff x="233739" y="283295"/>
            <a:chExt cx="1729654" cy="848268"/>
          </a:xfrm>
          <a:gradFill>
            <a:gsLst>
              <a:gs pos="100000">
                <a:schemeClr val="accent5"/>
              </a:gs>
              <a:gs pos="0">
                <a:schemeClr val="tx1">
                  <a:alpha val="0"/>
                </a:schemeClr>
              </a:gs>
            </a:gsLst>
            <a:lin ang="0" scaled="1"/>
          </a:gradFill>
        </p:grpSpPr>
        <p:grpSp>
          <p:nvGrpSpPr>
            <p:cNvPr id="64" name="Group 63">
              <a:extLst>
                <a:ext uri="{FF2B5EF4-FFF2-40B4-BE49-F238E27FC236}">
                  <a16:creationId xmlns:a16="http://schemas.microsoft.com/office/drawing/2014/main" id="{BFCCF228-B71A-EC60-723C-E7C093437D8A}"/>
                </a:ext>
              </a:extLst>
            </p:cNvPr>
            <p:cNvGrpSpPr/>
            <p:nvPr/>
          </p:nvGrpSpPr>
          <p:grpSpPr>
            <a:xfrm rot="5400000">
              <a:off x="1055270" y="-538236"/>
              <a:ext cx="86591" cy="1729654"/>
              <a:chOff x="85292" y="59892"/>
              <a:chExt cx="86591" cy="1729654"/>
            </a:xfrm>
            <a:grpFill/>
          </p:grpSpPr>
          <p:sp>
            <p:nvSpPr>
              <p:cNvPr id="98" name="Oval 97">
                <a:extLst>
                  <a:ext uri="{FF2B5EF4-FFF2-40B4-BE49-F238E27FC236}">
                    <a16:creationId xmlns:a16="http://schemas.microsoft.com/office/drawing/2014/main" id="{F555926E-C04F-739C-443F-F4EFB8170F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0D175111-063D-A488-4D55-D74CBBDA368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B8A82415-3740-34CE-233D-20AD23D6077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9F57CA7-543E-D0E1-3296-F48B9402F57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C197EA5F-1554-6BF9-54AF-02EC981E898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A1574858-B5B7-505C-045F-E8A92500EBA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CC909CDF-77CC-A9B8-DA30-444FF08010F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F0B61362-5C92-9CE8-467E-BB379D81796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88E948A5-A157-5EC6-B28F-B57DD440F6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EA654B8B-6B82-55D3-3B47-1198628FE50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7CC284AC-AD57-A1BA-DA8C-6D6FED1785D3}"/>
                </a:ext>
              </a:extLst>
            </p:cNvPr>
            <p:cNvGrpSpPr/>
            <p:nvPr/>
          </p:nvGrpSpPr>
          <p:grpSpPr>
            <a:xfrm rot="5400000">
              <a:off x="1055270" y="-284344"/>
              <a:ext cx="86591" cy="1729654"/>
              <a:chOff x="85292" y="59892"/>
              <a:chExt cx="86591" cy="1729654"/>
            </a:xfrm>
            <a:grpFill/>
          </p:grpSpPr>
          <p:sp>
            <p:nvSpPr>
              <p:cNvPr id="88" name="Oval 87">
                <a:extLst>
                  <a:ext uri="{FF2B5EF4-FFF2-40B4-BE49-F238E27FC236}">
                    <a16:creationId xmlns:a16="http://schemas.microsoft.com/office/drawing/2014/main" id="{1442D63A-0C08-7454-3992-DBD3AED5B56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90647B78-F22C-E557-EC1F-2BC10604CB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484E008B-4207-4CB6-8494-447D79DCF84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6F34A714-3D1D-6B85-F7FA-307C8B98B9C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27FDD229-64AA-B832-4D1A-F7D6CCE047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BEB41A0-249A-C465-3A95-EC147247C7D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E778B25D-4EDD-E025-8B2A-97D05F4ABF7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B3ED0C5D-DD65-CC66-ADA8-337E1966201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8488F70E-2313-6566-64F6-4999D2F4472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AF17AE5B-7267-FAC3-04BF-7D5F7C16522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3DE47A07-770C-296F-EAF8-AF2CBE6EA223}"/>
                </a:ext>
              </a:extLst>
            </p:cNvPr>
            <p:cNvGrpSpPr/>
            <p:nvPr/>
          </p:nvGrpSpPr>
          <p:grpSpPr>
            <a:xfrm rot="5400000">
              <a:off x="1055270" y="-30452"/>
              <a:ext cx="86591" cy="1729654"/>
              <a:chOff x="85292" y="59892"/>
              <a:chExt cx="86591" cy="1729654"/>
            </a:xfrm>
            <a:grpFill/>
          </p:grpSpPr>
          <p:sp>
            <p:nvSpPr>
              <p:cNvPr id="78" name="Oval 77">
                <a:extLst>
                  <a:ext uri="{FF2B5EF4-FFF2-40B4-BE49-F238E27FC236}">
                    <a16:creationId xmlns:a16="http://schemas.microsoft.com/office/drawing/2014/main" id="{8E757049-B80D-9568-022F-8599978C709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70AF5D1C-844D-B77D-0A20-D2CB4796B82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367287A1-2B01-2D6A-8EAC-C01C890CA2F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7409A490-F3B4-2B8A-899A-947DA8FFEC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3D717128-DC0F-A8CD-393E-2176875AE4C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20635149-5C5F-AFD4-0AE7-C67EA6FE5AC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366E0798-B218-18D6-0FAA-0A6D2751BF8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48412171-276F-6478-F9EF-16246D19C42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4E9B104C-C1F1-D748-33E1-5053B09EDD8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76FBACED-0AAB-0022-3A57-DCBAD2151E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a:extLst>
                <a:ext uri="{FF2B5EF4-FFF2-40B4-BE49-F238E27FC236}">
                  <a16:creationId xmlns:a16="http://schemas.microsoft.com/office/drawing/2014/main" id="{B0E9C82F-2F75-083A-7C66-9E7C1469DD70}"/>
                </a:ext>
              </a:extLst>
            </p:cNvPr>
            <p:cNvGrpSpPr/>
            <p:nvPr/>
          </p:nvGrpSpPr>
          <p:grpSpPr>
            <a:xfrm rot="5400000">
              <a:off x="1055270" y="223441"/>
              <a:ext cx="86591" cy="1729654"/>
              <a:chOff x="85292" y="59892"/>
              <a:chExt cx="86591" cy="1729654"/>
            </a:xfrm>
            <a:grpFill/>
          </p:grpSpPr>
          <p:sp>
            <p:nvSpPr>
              <p:cNvPr id="68" name="Oval 67">
                <a:extLst>
                  <a:ext uri="{FF2B5EF4-FFF2-40B4-BE49-F238E27FC236}">
                    <a16:creationId xmlns:a16="http://schemas.microsoft.com/office/drawing/2014/main" id="{D0261314-144C-DA33-3E98-C6BFB8FF687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2655F534-25A1-14B5-B22E-2026F36DB84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F52298FB-18A4-7647-DC89-3CB32E93C1C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526F1212-B11F-29CD-3E06-DF92E03FD1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D7090A4F-474F-6945-BFF2-61E1F855D0D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797148D5-8CAC-1EF6-13F5-C74A7FC507A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12CCCCBB-6928-F55F-E3D4-9FAA95AF813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20620643-B9E7-1E5A-A39F-1CC35322E43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00502DE-D5B0-D2AB-F81E-0AED2B77C74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5F7A2DBB-FC5F-FF1B-C949-037B85F266B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8" name="Group 107">
            <a:extLst>
              <a:ext uri="{FF2B5EF4-FFF2-40B4-BE49-F238E27FC236}">
                <a16:creationId xmlns:a16="http://schemas.microsoft.com/office/drawing/2014/main" id="{037925A7-F754-0F46-2CB5-F41BED54F947}"/>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09" name="Group 108">
              <a:extLst>
                <a:ext uri="{FF2B5EF4-FFF2-40B4-BE49-F238E27FC236}">
                  <a16:creationId xmlns:a16="http://schemas.microsoft.com/office/drawing/2014/main" id="{2D8E703B-BE8E-CA08-ED26-285CC0874FB0}"/>
                </a:ext>
              </a:extLst>
            </p:cNvPr>
            <p:cNvGrpSpPr/>
            <p:nvPr/>
          </p:nvGrpSpPr>
          <p:grpSpPr>
            <a:xfrm rot="5400000">
              <a:off x="1055270" y="-538236"/>
              <a:ext cx="86591" cy="1729654"/>
              <a:chOff x="85292" y="59892"/>
              <a:chExt cx="86591" cy="1729654"/>
            </a:xfrm>
            <a:grpFill/>
          </p:grpSpPr>
          <p:sp>
            <p:nvSpPr>
              <p:cNvPr id="143" name="Oval 142">
                <a:extLst>
                  <a:ext uri="{FF2B5EF4-FFF2-40B4-BE49-F238E27FC236}">
                    <a16:creationId xmlns:a16="http://schemas.microsoft.com/office/drawing/2014/main" id="{EAE9C4FE-49E8-693B-474F-AC17AA7077A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id="{F16ADA61-6EEE-6087-B064-880F14717B1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id="{B528DEB5-FF59-6F65-E284-311E9D65FD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id="{4469FAA4-E00F-B7D9-B9D0-0C0E6A99D6B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id="{C600CB6E-8F86-51F4-3D1B-E01DF00E79B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66F1DE29-38FF-28D7-E160-EAB4B13D3CC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id="{3872B111-6A32-E0E3-0C14-56517E81062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E2A30D03-7F3C-3273-627D-4E1A0877EE4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345034A9-6642-BEF8-C401-9DBAB8B658C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id="{A829C88F-D8DA-EC99-AB9C-A5A79390E67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E9BBD187-1582-D7B4-C21E-155EB717E599}"/>
                </a:ext>
              </a:extLst>
            </p:cNvPr>
            <p:cNvGrpSpPr/>
            <p:nvPr/>
          </p:nvGrpSpPr>
          <p:grpSpPr>
            <a:xfrm rot="5400000">
              <a:off x="1055270" y="-284344"/>
              <a:ext cx="86591" cy="1729654"/>
              <a:chOff x="85292" y="59892"/>
              <a:chExt cx="86591" cy="1729654"/>
            </a:xfrm>
            <a:grpFill/>
          </p:grpSpPr>
          <p:sp>
            <p:nvSpPr>
              <p:cNvPr id="133" name="Oval 132">
                <a:extLst>
                  <a:ext uri="{FF2B5EF4-FFF2-40B4-BE49-F238E27FC236}">
                    <a16:creationId xmlns:a16="http://schemas.microsoft.com/office/drawing/2014/main" id="{7D57D5A4-D358-FED2-31AB-CFF002BADA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a16="http://schemas.microsoft.com/office/drawing/2014/main" id="{692CE2C9-7666-BE9E-D0A8-8422F620870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55816249-451E-392D-C346-B211A776FDC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id="{9FFBF0CB-692B-E18A-F54E-5F038081B42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a16="http://schemas.microsoft.com/office/drawing/2014/main" id="{17C37975-D05E-F445-A16F-F24332A5132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4EEB3DB3-F92B-5C17-DAED-EB5C0793B85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466B0D94-6C76-1517-08C0-5A7013DCCCF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A1A61CB7-7FD0-4010-5DFF-2F52286A630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id="{42485E37-22BB-161B-A7AA-142EC5FDB59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id="{0B9F3100-DEB9-DF95-C2A9-E67A8AD8209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D18CEDFB-63DA-FD6F-BA07-6C4A59E3D9BE}"/>
                </a:ext>
              </a:extLst>
            </p:cNvPr>
            <p:cNvGrpSpPr/>
            <p:nvPr/>
          </p:nvGrpSpPr>
          <p:grpSpPr>
            <a:xfrm rot="5400000">
              <a:off x="1055270" y="-30452"/>
              <a:ext cx="86591" cy="1729654"/>
              <a:chOff x="85292" y="59892"/>
              <a:chExt cx="86591" cy="1729654"/>
            </a:xfrm>
            <a:grpFill/>
          </p:grpSpPr>
          <p:sp>
            <p:nvSpPr>
              <p:cNvPr id="123" name="Oval 122">
                <a:extLst>
                  <a:ext uri="{FF2B5EF4-FFF2-40B4-BE49-F238E27FC236}">
                    <a16:creationId xmlns:a16="http://schemas.microsoft.com/office/drawing/2014/main" id="{3ABB371E-51DF-B8F9-083C-35367A927A3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1039FF08-CECD-79E4-2369-81635548BB3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4FABB9DC-9893-7030-3CB9-08DAE2721DB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5CEDF198-C6AE-2CD8-D3F8-F3E0344A98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3F7A303E-011E-E2D0-F16F-1033A9262D7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C4F5D93D-6111-8F28-024C-C02F97BBB6E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933E4C25-B151-DDC5-1887-0FE933B6A10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id="{C0129A94-F93B-9E85-33B9-5CF36E5EF72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id="{51B3AA64-691A-9001-6307-44F92EA2738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a16="http://schemas.microsoft.com/office/drawing/2014/main" id="{B41C30E1-48E9-BF93-9621-387DB43D75B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9FAF7DDC-03D6-F4E4-3CAE-F422CA797F20}"/>
                </a:ext>
              </a:extLst>
            </p:cNvPr>
            <p:cNvGrpSpPr/>
            <p:nvPr/>
          </p:nvGrpSpPr>
          <p:grpSpPr>
            <a:xfrm rot="5400000">
              <a:off x="1055270" y="223441"/>
              <a:ext cx="86591" cy="1729654"/>
              <a:chOff x="85292" y="59892"/>
              <a:chExt cx="86591" cy="1729654"/>
            </a:xfrm>
            <a:grpFill/>
          </p:grpSpPr>
          <p:sp>
            <p:nvSpPr>
              <p:cNvPr id="113" name="Oval 112">
                <a:extLst>
                  <a:ext uri="{FF2B5EF4-FFF2-40B4-BE49-F238E27FC236}">
                    <a16:creationId xmlns:a16="http://schemas.microsoft.com/office/drawing/2014/main" id="{4B63622F-DF11-D156-FF03-6F47D79C957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BE0BDEF9-D0AA-4D0C-69A4-74527320FA4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08F2E9A4-7CD1-3352-47CC-3AE4A364370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26183A4F-8AC3-EE52-B970-66DD7EA5B9A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2103A8FA-BB5B-ACFF-5641-E7919ED134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C8626811-6EEB-C9DA-134A-3529703DA06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AABB908A-6593-D310-0EB0-A61B375C883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8185821E-ECD3-C90A-B3E8-8E3603AB559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07E779C2-D23E-8F5A-50FF-A582F650E89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08AEBD73-A8D3-718B-5F3A-10AA26FABA9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3" name="Group 242">
            <a:extLst>
              <a:ext uri="{FF2B5EF4-FFF2-40B4-BE49-F238E27FC236}">
                <a16:creationId xmlns:a16="http://schemas.microsoft.com/office/drawing/2014/main" id="{CA13DAFD-A7AA-F041-DC38-E0C7D3997971}"/>
              </a:ext>
            </a:extLst>
          </p:cNvPr>
          <p:cNvGrpSpPr/>
          <p:nvPr/>
        </p:nvGrpSpPr>
        <p:grpSpPr>
          <a:xfrm rot="16200000" flipV="1">
            <a:off x="363654" y="5736340"/>
            <a:ext cx="1729654" cy="848268"/>
            <a:chOff x="233739" y="283295"/>
            <a:chExt cx="1729654" cy="848268"/>
          </a:xfrm>
          <a:gradFill>
            <a:gsLst>
              <a:gs pos="0">
                <a:schemeClr val="accent5"/>
              </a:gs>
              <a:gs pos="100000">
                <a:schemeClr val="tx1">
                  <a:alpha val="0"/>
                </a:schemeClr>
              </a:gs>
            </a:gsLst>
            <a:lin ang="0" scaled="1"/>
          </a:gradFill>
        </p:grpSpPr>
        <p:grpSp>
          <p:nvGrpSpPr>
            <p:cNvPr id="244" name="Group 243">
              <a:extLst>
                <a:ext uri="{FF2B5EF4-FFF2-40B4-BE49-F238E27FC236}">
                  <a16:creationId xmlns:a16="http://schemas.microsoft.com/office/drawing/2014/main" id="{C7569B36-8CEF-9180-E201-4D7700024ABC}"/>
                </a:ext>
              </a:extLst>
            </p:cNvPr>
            <p:cNvGrpSpPr/>
            <p:nvPr/>
          </p:nvGrpSpPr>
          <p:grpSpPr>
            <a:xfrm rot="5400000">
              <a:off x="1055270" y="-538236"/>
              <a:ext cx="86591" cy="1729654"/>
              <a:chOff x="85292" y="59892"/>
              <a:chExt cx="86591" cy="1729654"/>
            </a:xfrm>
            <a:grpFill/>
          </p:grpSpPr>
          <p:sp>
            <p:nvSpPr>
              <p:cNvPr id="278" name="Oval 277">
                <a:extLst>
                  <a:ext uri="{FF2B5EF4-FFF2-40B4-BE49-F238E27FC236}">
                    <a16:creationId xmlns:a16="http://schemas.microsoft.com/office/drawing/2014/main" id="{F24D2920-38C6-0864-A2B3-2BDA5BE78B3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2A902E12-A41A-3E27-BDFE-923E7457B23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DB60CB70-304D-00AF-1B73-403DD74A560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82A3A1B1-66C6-CB85-CC96-B211433CDAA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C3BAA339-EBFF-7949-6D11-750E49EF32E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89D14CE3-B113-B818-AFA1-EB27F3709E0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151375A3-7078-7F45-C558-15B15877F0A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Oval 284">
                <a:extLst>
                  <a:ext uri="{FF2B5EF4-FFF2-40B4-BE49-F238E27FC236}">
                    <a16:creationId xmlns:a16="http://schemas.microsoft.com/office/drawing/2014/main" id="{91A4C054-B54C-1C75-73C6-BE3681E6A1A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69CFA4F7-26FA-9E7C-BF3C-D2F3C64B1A7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99A79AC6-C78D-A393-683B-93E57D6C35B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5" name="Group 244">
              <a:extLst>
                <a:ext uri="{FF2B5EF4-FFF2-40B4-BE49-F238E27FC236}">
                  <a16:creationId xmlns:a16="http://schemas.microsoft.com/office/drawing/2014/main" id="{2865921D-4C70-387C-F16A-584A0A4D52B0}"/>
                </a:ext>
              </a:extLst>
            </p:cNvPr>
            <p:cNvGrpSpPr/>
            <p:nvPr/>
          </p:nvGrpSpPr>
          <p:grpSpPr>
            <a:xfrm rot="5400000">
              <a:off x="1055270" y="-284344"/>
              <a:ext cx="86591" cy="1729654"/>
              <a:chOff x="85292" y="59892"/>
              <a:chExt cx="86591" cy="1729654"/>
            </a:xfrm>
            <a:grpFill/>
          </p:grpSpPr>
          <p:sp>
            <p:nvSpPr>
              <p:cNvPr id="268" name="Oval 267">
                <a:extLst>
                  <a:ext uri="{FF2B5EF4-FFF2-40B4-BE49-F238E27FC236}">
                    <a16:creationId xmlns:a16="http://schemas.microsoft.com/office/drawing/2014/main" id="{22A0DB3B-3FF3-7EF0-12A9-063BCDB7BD6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BEEEE287-F14A-0C86-2F55-9512FAB09A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D9086257-F8EC-F70D-ECF0-B778D02B81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84E82CAA-4B94-5418-BDBA-E9D2BE8CE8C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66B42F97-62F7-F030-8D6D-5363D17CE0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41D11162-4910-A730-C7CF-C3517DBBFF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A9AD64A0-EABB-ABD0-BF3F-3EFCD76D080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Oval 274">
                <a:extLst>
                  <a:ext uri="{FF2B5EF4-FFF2-40B4-BE49-F238E27FC236}">
                    <a16:creationId xmlns:a16="http://schemas.microsoft.com/office/drawing/2014/main" id="{456C187C-C789-932D-8219-50BB194BB41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E29ADA05-68EF-B816-27AC-62DEFAF580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230DE437-C87C-A1E6-F287-0138DBD056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a:extLst>
                <a:ext uri="{FF2B5EF4-FFF2-40B4-BE49-F238E27FC236}">
                  <a16:creationId xmlns:a16="http://schemas.microsoft.com/office/drawing/2014/main" id="{4A28CD87-5C9B-CB5E-2531-C6263852DC9F}"/>
                </a:ext>
              </a:extLst>
            </p:cNvPr>
            <p:cNvGrpSpPr/>
            <p:nvPr/>
          </p:nvGrpSpPr>
          <p:grpSpPr>
            <a:xfrm rot="5400000">
              <a:off x="1055270" y="-30452"/>
              <a:ext cx="86591" cy="1729654"/>
              <a:chOff x="85292" y="59892"/>
              <a:chExt cx="86591" cy="1729654"/>
            </a:xfrm>
            <a:grpFill/>
          </p:grpSpPr>
          <p:sp>
            <p:nvSpPr>
              <p:cNvPr id="258" name="Oval 257">
                <a:extLst>
                  <a:ext uri="{FF2B5EF4-FFF2-40B4-BE49-F238E27FC236}">
                    <a16:creationId xmlns:a16="http://schemas.microsoft.com/office/drawing/2014/main" id="{60EC53D9-25A2-CF02-C6B2-916EA16BFDC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5B1D528F-4AEE-B468-91DB-6DB4EAD91D9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87FE3F7A-B605-62C4-1947-AD068F61B63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046365EA-9B4F-3336-3E5D-06AFB027A20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6D1987C3-8522-F129-7183-C91FE41E137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Oval 262">
                <a:extLst>
                  <a:ext uri="{FF2B5EF4-FFF2-40B4-BE49-F238E27FC236}">
                    <a16:creationId xmlns:a16="http://schemas.microsoft.com/office/drawing/2014/main" id="{0E90D6BD-F213-EB5D-4E6B-160D040AC32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a:extLst>
                  <a:ext uri="{FF2B5EF4-FFF2-40B4-BE49-F238E27FC236}">
                    <a16:creationId xmlns:a16="http://schemas.microsoft.com/office/drawing/2014/main" id="{F731241C-65DE-24FD-40C7-03EE555C702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9A657F40-A7AD-2EBA-FCF9-E9C0150898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380A229F-4136-DA65-9CAE-DDA5446379B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0B7A3C9C-8FF7-EC36-29DC-2B4773418B9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a:extLst>
                <a:ext uri="{FF2B5EF4-FFF2-40B4-BE49-F238E27FC236}">
                  <a16:creationId xmlns:a16="http://schemas.microsoft.com/office/drawing/2014/main" id="{8648560D-5327-A38D-8689-69C7DB45F428}"/>
                </a:ext>
              </a:extLst>
            </p:cNvPr>
            <p:cNvGrpSpPr/>
            <p:nvPr/>
          </p:nvGrpSpPr>
          <p:grpSpPr>
            <a:xfrm rot="5400000">
              <a:off x="1055270" y="223441"/>
              <a:ext cx="86591" cy="1729654"/>
              <a:chOff x="85292" y="59892"/>
              <a:chExt cx="86591" cy="1729654"/>
            </a:xfrm>
            <a:grpFill/>
          </p:grpSpPr>
          <p:sp>
            <p:nvSpPr>
              <p:cNvPr id="248" name="Oval 247">
                <a:extLst>
                  <a:ext uri="{FF2B5EF4-FFF2-40B4-BE49-F238E27FC236}">
                    <a16:creationId xmlns:a16="http://schemas.microsoft.com/office/drawing/2014/main" id="{0A4F10D6-15C6-68A6-5177-21EC0D7DF85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528770C6-E9D4-91D5-6BEE-AE6D0C4684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Oval 249">
                <a:extLst>
                  <a:ext uri="{FF2B5EF4-FFF2-40B4-BE49-F238E27FC236}">
                    <a16:creationId xmlns:a16="http://schemas.microsoft.com/office/drawing/2014/main" id="{1B105AE0-1497-F4E8-6F32-9D2D145991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CEF3C972-2EA7-F1CE-F618-896DB03C11B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040F59DE-CC1B-885E-82DF-DA45654EB04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689095C2-FF03-3028-3367-CB662006222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63CD39BD-5493-09B7-C053-6D70F786D7E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AEEAAC42-4D2F-E8DD-A5FD-1F733686D48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FA386C84-46A5-D10E-654A-382B7D466BB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580B7F43-02D8-6495-8AF6-DAEB99A6F96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88" name="Group 287">
            <a:extLst>
              <a:ext uri="{FF2B5EF4-FFF2-40B4-BE49-F238E27FC236}">
                <a16:creationId xmlns:a16="http://schemas.microsoft.com/office/drawing/2014/main" id="{7871390E-A1BB-AE44-04C7-C38050CE4DDE}"/>
              </a:ext>
            </a:extLst>
          </p:cNvPr>
          <p:cNvGrpSpPr/>
          <p:nvPr/>
        </p:nvGrpSpPr>
        <p:grpSpPr>
          <a:xfrm rot="16200000" flipV="1">
            <a:off x="1290285" y="6085474"/>
            <a:ext cx="1729654" cy="848268"/>
            <a:chOff x="233739" y="283295"/>
            <a:chExt cx="1729654" cy="848268"/>
          </a:xfrm>
          <a:gradFill>
            <a:gsLst>
              <a:gs pos="0">
                <a:schemeClr val="accent5"/>
              </a:gs>
              <a:gs pos="100000">
                <a:schemeClr val="tx1">
                  <a:alpha val="0"/>
                </a:schemeClr>
              </a:gs>
            </a:gsLst>
            <a:lin ang="0" scaled="1"/>
          </a:gradFill>
        </p:grpSpPr>
        <p:grpSp>
          <p:nvGrpSpPr>
            <p:cNvPr id="289" name="Group 288">
              <a:extLst>
                <a:ext uri="{FF2B5EF4-FFF2-40B4-BE49-F238E27FC236}">
                  <a16:creationId xmlns:a16="http://schemas.microsoft.com/office/drawing/2014/main" id="{67E4693E-509D-3A60-1A0B-8E21CC99C156}"/>
                </a:ext>
              </a:extLst>
            </p:cNvPr>
            <p:cNvGrpSpPr/>
            <p:nvPr/>
          </p:nvGrpSpPr>
          <p:grpSpPr>
            <a:xfrm rot="5400000">
              <a:off x="1055270" y="-538236"/>
              <a:ext cx="86591" cy="1729654"/>
              <a:chOff x="85292" y="59892"/>
              <a:chExt cx="86591" cy="1729654"/>
            </a:xfrm>
            <a:grpFill/>
          </p:grpSpPr>
          <p:sp>
            <p:nvSpPr>
              <p:cNvPr id="323" name="Oval 322">
                <a:extLst>
                  <a:ext uri="{FF2B5EF4-FFF2-40B4-BE49-F238E27FC236}">
                    <a16:creationId xmlns:a16="http://schemas.microsoft.com/office/drawing/2014/main" id="{455DF637-89E3-3903-349C-B58A78089EC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4ACC371E-05A6-630C-E40C-07E7163AFD5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DF25F56D-6B8F-5A7A-C850-8E3D7CFA07F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89A24D15-73E4-48EE-8DA0-75BE8EE35E5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0D881259-31BC-8972-94D0-CA0831BDB0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3B76F395-36F2-92E5-0369-A0B7C1EB5CF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273E3A85-7F60-3447-C58A-52B94C16415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1BCE3E0C-CF37-E981-F22D-AE831DC70F7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2C45527A-CD1F-885F-8096-2A53C23928B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Oval 331">
                <a:extLst>
                  <a:ext uri="{FF2B5EF4-FFF2-40B4-BE49-F238E27FC236}">
                    <a16:creationId xmlns:a16="http://schemas.microsoft.com/office/drawing/2014/main" id="{F9714CF1-E08D-0ADA-42DA-2D8B785ED23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0" name="Group 289">
              <a:extLst>
                <a:ext uri="{FF2B5EF4-FFF2-40B4-BE49-F238E27FC236}">
                  <a16:creationId xmlns:a16="http://schemas.microsoft.com/office/drawing/2014/main" id="{4F202C81-A172-13D6-B017-69C2EAD881B3}"/>
                </a:ext>
              </a:extLst>
            </p:cNvPr>
            <p:cNvGrpSpPr/>
            <p:nvPr/>
          </p:nvGrpSpPr>
          <p:grpSpPr>
            <a:xfrm rot="5400000">
              <a:off x="1055270" y="-284344"/>
              <a:ext cx="86591" cy="1729654"/>
              <a:chOff x="85292" y="59892"/>
              <a:chExt cx="86591" cy="1729654"/>
            </a:xfrm>
            <a:grpFill/>
          </p:grpSpPr>
          <p:sp>
            <p:nvSpPr>
              <p:cNvPr id="313" name="Oval 312">
                <a:extLst>
                  <a:ext uri="{FF2B5EF4-FFF2-40B4-BE49-F238E27FC236}">
                    <a16:creationId xmlns:a16="http://schemas.microsoft.com/office/drawing/2014/main" id="{9E7B9C31-8FAE-2FD2-C080-0B695E7E6D8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0679FF34-E605-3C97-4066-31A986D9F8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A2A09B0A-5B61-3173-A7CF-391B7B2F584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687B2C75-199C-B04E-F879-32D73A0010F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2DB41142-BC17-5CDC-7F02-FE288B3D056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72CDCFE2-6651-3785-1FB9-71EE7BB4EE0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3A0244DD-0320-85F4-6DE8-37523B439B7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9BB732DC-FF1E-C1E5-85C2-401C43E0A1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7C6A8642-3DAC-DF11-0376-82377E29902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a:extLst>
                  <a:ext uri="{FF2B5EF4-FFF2-40B4-BE49-F238E27FC236}">
                    <a16:creationId xmlns:a16="http://schemas.microsoft.com/office/drawing/2014/main" id="{DEEFDCCC-B2A8-AE34-5D56-89F5D26C8AE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1" name="Group 290">
              <a:extLst>
                <a:ext uri="{FF2B5EF4-FFF2-40B4-BE49-F238E27FC236}">
                  <a16:creationId xmlns:a16="http://schemas.microsoft.com/office/drawing/2014/main" id="{4F9BAF42-8587-31F7-80C3-C02E46F424CC}"/>
                </a:ext>
              </a:extLst>
            </p:cNvPr>
            <p:cNvGrpSpPr/>
            <p:nvPr/>
          </p:nvGrpSpPr>
          <p:grpSpPr>
            <a:xfrm rot="5400000">
              <a:off x="1055270" y="-30452"/>
              <a:ext cx="86591" cy="1729654"/>
              <a:chOff x="85292" y="59892"/>
              <a:chExt cx="86591" cy="1729654"/>
            </a:xfrm>
            <a:grpFill/>
          </p:grpSpPr>
          <p:sp>
            <p:nvSpPr>
              <p:cNvPr id="303" name="Oval 302">
                <a:extLst>
                  <a:ext uri="{FF2B5EF4-FFF2-40B4-BE49-F238E27FC236}">
                    <a16:creationId xmlns:a16="http://schemas.microsoft.com/office/drawing/2014/main" id="{4415D37F-E26F-3544-8042-06939B625CA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7955A2E1-2CC0-E8DB-08F5-54289DD193F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0013B373-CFD6-4D37-9368-F72FB275AF1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98DB9D1F-481A-66E4-9ADB-1452DF6CA0B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B353AA33-33C7-CA41-D491-7E3DFB7E37C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9B5C2070-0141-8929-68D7-C8868BACE3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2D4A3170-D84E-D3E9-0070-57B106892BC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41D9F1E2-6BD7-9BF0-B6A6-FBDB1A7834E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A734F8BE-85BD-D724-7D21-FA39FDF87F2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Oval 311">
                <a:extLst>
                  <a:ext uri="{FF2B5EF4-FFF2-40B4-BE49-F238E27FC236}">
                    <a16:creationId xmlns:a16="http://schemas.microsoft.com/office/drawing/2014/main" id="{3AA0982A-0938-1609-E6AB-8A438FB4061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2" name="Group 291">
              <a:extLst>
                <a:ext uri="{FF2B5EF4-FFF2-40B4-BE49-F238E27FC236}">
                  <a16:creationId xmlns:a16="http://schemas.microsoft.com/office/drawing/2014/main" id="{A43EE085-CF91-F03E-45B3-E711666FCD36}"/>
                </a:ext>
              </a:extLst>
            </p:cNvPr>
            <p:cNvGrpSpPr/>
            <p:nvPr/>
          </p:nvGrpSpPr>
          <p:grpSpPr>
            <a:xfrm rot="5400000">
              <a:off x="1055270" y="223441"/>
              <a:ext cx="86591" cy="1729654"/>
              <a:chOff x="85292" y="59892"/>
              <a:chExt cx="86591" cy="1729654"/>
            </a:xfrm>
            <a:grpFill/>
          </p:grpSpPr>
          <p:sp>
            <p:nvSpPr>
              <p:cNvPr id="293" name="Oval 292">
                <a:extLst>
                  <a:ext uri="{FF2B5EF4-FFF2-40B4-BE49-F238E27FC236}">
                    <a16:creationId xmlns:a16="http://schemas.microsoft.com/office/drawing/2014/main" id="{DB185663-755A-9B3E-7D20-5D67600AE30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76FEDFEB-ED42-5886-48E8-BF40B3F4732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4AE8ED82-3C6E-8504-5841-F5CF890B0AB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CE4FB739-96C5-4CAA-9BE7-D0D2AEB71B1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A8E3686C-464B-EF59-E804-2DB188FCD4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0DCE30A3-3104-F761-7771-F5099DDE961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E45BB29F-FC3E-CE35-83F5-B1EBC3393E1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CE266D2A-0558-42E3-00F2-A3EFBD39929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8D3C4FAD-F47B-1184-84DB-252B18D581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C4634434-A450-6CF9-7FA5-86B477F1C42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3" name="Group 332">
            <a:extLst>
              <a:ext uri="{FF2B5EF4-FFF2-40B4-BE49-F238E27FC236}">
                <a16:creationId xmlns:a16="http://schemas.microsoft.com/office/drawing/2014/main" id="{3F1EF4DD-887C-7573-926E-02926B5DCDC7}"/>
              </a:ext>
            </a:extLst>
          </p:cNvPr>
          <p:cNvGrpSpPr/>
          <p:nvPr/>
        </p:nvGrpSpPr>
        <p:grpSpPr>
          <a:xfrm rot="16200000" flipV="1">
            <a:off x="2234732" y="6253149"/>
            <a:ext cx="1729654" cy="848268"/>
            <a:chOff x="233739" y="283295"/>
            <a:chExt cx="1729654" cy="848268"/>
          </a:xfrm>
          <a:gradFill>
            <a:gsLst>
              <a:gs pos="0">
                <a:schemeClr val="accent5"/>
              </a:gs>
              <a:gs pos="100000">
                <a:schemeClr val="tx1">
                  <a:alpha val="0"/>
                </a:schemeClr>
              </a:gs>
            </a:gsLst>
            <a:lin ang="0" scaled="1"/>
          </a:gradFill>
        </p:grpSpPr>
        <p:grpSp>
          <p:nvGrpSpPr>
            <p:cNvPr id="334" name="Group 333">
              <a:extLst>
                <a:ext uri="{FF2B5EF4-FFF2-40B4-BE49-F238E27FC236}">
                  <a16:creationId xmlns:a16="http://schemas.microsoft.com/office/drawing/2014/main" id="{31173456-989E-AA3E-D308-69BD26B5FA69}"/>
                </a:ext>
              </a:extLst>
            </p:cNvPr>
            <p:cNvGrpSpPr/>
            <p:nvPr/>
          </p:nvGrpSpPr>
          <p:grpSpPr>
            <a:xfrm rot="5400000">
              <a:off x="1055270" y="-538236"/>
              <a:ext cx="86591" cy="1729654"/>
              <a:chOff x="85292" y="59892"/>
              <a:chExt cx="86591" cy="1729654"/>
            </a:xfrm>
            <a:grpFill/>
          </p:grpSpPr>
          <p:sp>
            <p:nvSpPr>
              <p:cNvPr id="368" name="Oval 367">
                <a:extLst>
                  <a:ext uri="{FF2B5EF4-FFF2-40B4-BE49-F238E27FC236}">
                    <a16:creationId xmlns:a16="http://schemas.microsoft.com/office/drawing/2014/main" id="{D665791C-CC17-AD29-1A73-3B91537678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86F6961C-CB1C-29BD-10CA-1C652401C11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CE3A71FA-77A4-CD5D-0DA2-0174E367D4F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5FB94093-BB0A-C620-FC2B-4242D6FF50C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6E0741BF-77B7-AD36-4D33-E0158B5F2AC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903C0B83-D4D4-0934-45AF-07B180012BA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83020EB-8F32-63A1-3ACA-3B28E6B3BB9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1FB56441-BA51-6733-9E70-7DEE817C940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4DDA63B9-B135-4A72-DB21-166615BFD88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227A0661-D717-1A07-E76E-BD9EED29D1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5" name="Group 334">
              <a:extLst>
                <a:ext uri="{FF2B5EF4-FFF2-40B4-BE49-F238E27FC236}">
                  <a16:creationId xmlns:a16="http://schemas.microsoft.com/office/drawing/2014/main" id="{B3168FAC-886A-B8BA-7D2C-77908F847EAE}"/>
                </a:ext>
              </a:extLst>
            </p:cNvPr>
            <p:cNvGrpSpPr/>
            <p:nvPr/>
          </p:nvGrpSpPr>
          <p:grpSpPr>
            <a:xfrm rot="5400000">
              <a:off x="1055270" y="-284344"/>
              <a:ext cx="86591" cy="1729654"/>
              <a:chOff x="85292" y="59892"/>
              <a:chExt cx="86591" cy="1729654"/>
            </a:xfrm>
            <a:grpFill/>
          </p:grpSpPr>
          <p:sp>
            <p:nvSpPr>
              <p:cNvPr id="358" name="Oval 357">
                <a:extLst>
                  <a:ext uri="{FF2B5EF4-FFF2-40B4-BE49-F238E27FC236}">
                    <a16:creationId xmlns:a16="http://schemas.microsoft.com/office/drawing/2014/main" id="{A0448FD1-BC4F-B932-3BB6-3DA18BC8AFF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9FC6E046-D301-B803-EEE2-7BAB634F4CF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5383EFAD-4CC9-A17F-0542-F194E80C29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560D7C57-173F-CCD2-7E19-22F802A1BA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C4544594-A1C9-291E-3CD4-B87C57D4695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DFC87726-F071-F8E5-B992-676F1AFD2BC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79E9AF31-7A80-2F3D-39D3-51153CE4E9C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7A49EDD0-B19A-82BD-4FE6-AC56E7006DE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A4AEF11C-2B45-A81F-D738-A25CFCCFC0D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FED5A6BF-7B43-697C-2FAE-3A4BF86F02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6" name="Group 335">
              <a:extLst>
                <a:ext uri="{FF2B5EF4-FFF2-40B4-BE49-F238E27FC236}">
                  <a16:creationId xmlns:a16="http://schemas.microsoft.com/office/drawing/2014/main" id="{98A00BDB-7EE9-A520-F07F-315AFCB5C64F}"/>
                </a:ext>
              </a:extLst>
            </p:cNvPr>
            <p:cNvGrpSpPr/>
            <p:nvPr/>
          </p:nvGrpSpPr>
          <p:grpSpPr>
            <a:xfrm rot="5400000">
              <a:off x="1055270" y="-30452"/>
              <a:ext cx="86591" cy="1729654"/>
              <a:chOff x="85292" y="59892"/>
              <a:chExt cx="86591" cy="1729654"/>
            </a:xfrm>
            <a:grpFill/>
          </p:grpSpPr>
          <p:sp>
            <p:nvSpPr>
              <p:cNvPr id="348" name="Oval 347">
                <a:extLst>
                  <a:ext uri="{FF2B5EF4-FFF2-40B4-BE49-F238E27FC236}">
                    <a16:creationId xmlns:a16="http://schemas.microsoft.com/office/drawing/2014/main" id="{CB0D91F9-3A31-3E8A-28CE-1846362316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2DA31B60-1FC1-D680-277D-8110F327393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DAADC34E-37A7-B1EA-DAA0-6F37B8AD8D8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80CB8386-979E-BDB3-5C6F-E20527C68FF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5E04978E-6C0A-0359-BC3B-3ACE2F5A73F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C11C1334-0912-3D9A-71A9-2CC805D27A4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E20B2A79-BDCD-F142-28B0-B63AFCDB4B1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3A4D4BA8-3FE8-1324-F74E-198A59CC786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A9699EAF-0B2B-1D69-F423-783F75BD893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31474D98-7462-1798-A945-DA118E7F368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7" name="Group 336">
              <a:extLst>
                <a:ext uri="{FF2B5EF4-FFF2-40B4-BE49-F238E27FC236}">
                  <a16:creationId xmlns:a16="http://schemas.microsoft.com/office/drawing/2014/main" id="{E6D48795-7C9E-0686-EC49-18FF23B98F79}"/>
                </a:ext>
              </a:extLst>
            </p:cNvPr>
            <p:cNvGrpSpPr/>
            <p:nvPr/>
          </p:nvGrpSpPr>
          <p:grpSpPr>
            <a:xfrm rot="5400000">
              <a:off x="1055270" y="223441"/>
              <a:ext cx="86591" cy="1729654"/>
              <a:chOff x="85292" y="59892"/>
              <a:chExt cx="86591" cy="1729654"/>
            </a:xfrm>
            <a:grpFill/>
          </p:grpSpPr>
          <p:sp>
            <p:nvSpPr>
              <p:cNvPr id="338" name="Oval 337">
                <a:extLst>
                  <a:ext uri="{FF2B5EF4-FFF2-40B4-BE49-F238E27FC236}">
                    <a16:creationId xmlns:a16="http://schemas.microsoft.com/office/drawing/2014/main" id="{A1F1DF7E-713B-D616-22C6-B38EB88F206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0751EB54-1A1E-1872-E6D5-E05E7005AD7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65315E3C-8833-AB8A-5718-914D45DEA8A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C5A17AD2-E8DB-0CD1-102C-B8E8B84C3C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Oval 341">
                <a:extLst>
                  <a:ext uri="{FF2B5EF4-FFF2-40B4-BE49-F238E27FC236}">
                    <a16:creationId xmlns:a16="http://schemas.microsoft.com/office/drawing/2014/main" id="{0940AB20-D4CE-F2D2-38D7-56182FE6AB6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Oval 342">
                <a:extLst>
                  <a:ext uri="{FF2B5EF4-FFF2-40B4-BE49-F238E27FC236}">
                    <a16:creationId xmlns:a16="http://schemas.microsoft.com/office/drawing/2014/main" id="{06884D99-5A6A-BFCD-0336-87D5D0646BD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Oval 343">
                <a:extLst>
                  <a:ext uri="{FF2B5EF4-FFF2-40B4-BE49-F238E27FC236}">
                    <a16:creationId xmlns:a16="http://schemas.microsoft.com/office/drawing/2014/main" id="{6D7BDF75-E68E-7ED9-371F-CC130C9F9CB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Oval 344">
                <a:extLst>
                  <a:ext uri="{FF2B5EF4-FFF2-40B4-BE49-F238E27FC236}">
                    <a16:creationId xmlns:a16="http://schemas.microsoft.com/office/drawing/2014/main" id="{2935EB58-BDD2-A193-2130-2935A5AA8F7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Oval 345">
                <a:extLst>
                  <a:ext uri="{FF2B5EF4-FFF2-40B4-BE49-F238E27FC236}">
                    <a16:creationId xmlns:a16="http://schemas.microsoft.com/office/drawing/2014/main" id="{A701D469-EAF4-7356-4C8D-F9E869CD1CE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a:extLst>
                  <a:ext uri="{FF2B5EF4-FFF2-40B4-BE49-F238E27FC236}">
                    <a16:creationId xmlns:a16="http://schemas.microsoft.com/office/drawing/2014/main" id="{1522F960-7804-7C79-3A10-D8E8ADD6E4D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78" name="Rectangle: Rounded Corners 377">
            <a:hlinkClick r:id="rId7" action="ppaction://hlinksldjump"/>
            <a:hlinkHover r:id="" action="ppaction://noaction" highlightClick="1"/>
            <a:extLst>
              <a:ext uri="{FF2B5EF4-FFF2-40B4-BE49-F238E27FC236}">
                <a16:creationId xmlns:a16="http://schemas.microsoft.com/office/drawing/2014/main" id="{BC0AABC2-CA28-4A14-95D4-EEE84A110475}"/>
              </a:ext>
            </a:extLst>
          </p:cNvPr>
          <p:cNvSpPr/>
          <p:nvPr/>
        </p:nvSpPr>
        <p:spPr>
          <a:xfrm>
            <a:off x="809624"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TextBox 378">
            <a:extLst>
              <a:ext uri="{FF2B5EF4-FFF2-40B4-BE49-F238E27FC236}">
                <a16:creationId xmlns:a16="http://schemas.microsoft.com/office/drawing/2014/main" id="{959E051B-E4C6-4F16-9FE9-1557B354F4EA}"/>
              </a:ext>
            </a:extLst>
          </p:cNvPr>
          <p:cNvSpPr txBox="1"/>
          <p:nvPr/>
        </p:nvSpPr>
        <p:spPr>
          <a:xfrm>
            <a:off x="1077031" y="2764987"/>
            <a:ext cx="1902265" cy="769441"/>
          </a:xfrm>
          <a:prstGeom prst="rect">
            <a:avLst/>
          </a:prstGeom>
          <a:noFill/>
        </p:spPr>
        <p:txBody>
          <a:bodyPr wrap="square" lIns="0" rIns="0" rtlCol="0">
            <a:spAutoFit/>
          </a:bodyPr>
          <a:lstStyle/>
          <a:p>
            <a:r>
              <a:rPr lang="id-ID" sz="4400" b="1" dirty="0">
                <a:solidFill>
                  <a:srgbClr val="168DA5"/>
                </a:solidFill>
              </a:rPr>
              <a:t>01.</a:t>
            </a:r>
            <a:r>
              <a:rPr lang="en-US" sz="4400" b="1" dirty="0">
                <a:solidFill>
                  <a:srgbClr val="168DA5"/>
                </a:solidFill>
              </a:rPr>
              <a:t> </a:t>
            </a:r>
          </a:p>
        </p:txBody>
      </p:sp>
      <p:sp>
        <p:nvSpPr>
          <p:cNvPr id="380" name="TextBox 379">
            <a:extLst>
              <a:ext uri="{FF2B5EF4-FFF2-40B4-BE49-F238E27FC236}">
                <a16:creationId xmlns:a16="http://schemas.microsoft.com/office/drawing/2014/main" id="{31E71BE4-5E35-414A-B724-2E07A414C6C5}"/>
              </a:ext>
            </a:extLst>
          </p:cNvPr>
          <p:cNvSpPr txBox="1"/>
          <p:nvPr/>
        </p:nvSpPr>
        <p:spPr>
          <a:xfrm>
            <a:off x="1033737" y="4291050"/>
            <a:ext cx="1945559" cy="1384995"/>
          </a:xfrm>
          <a:prstGeom prst="rect">
            <a:avLst/>
          </a:prstGeom>
          <a:noFill/>
        </p:spPr>
        <p:txBody>
          <a:bodyPr wrap="square" lIns="0" rIns="0" rtlCol="0">
            <a:spAutoFit/>
          </a:bodyPr>
          <a:lstStyle/>
          <a:p>
            <a:r>
              <a:rPr lang="en-US" sz="1400" b="0" i="0" dirty="0">
                <a:solidFill>
                  <a:schemeClr val="bg1">
                    <a:lumMod val="50000"/>
                  </a:schemeClr>
                </a:solidFill>
                <a:effectLst/>
                <a:latin typeface="Söhne"/>
              </a:rPr>
              <a:t>We aim to provide a concise introduction to Markov models and Hidden Markov Models as the starting point for our discussion.</a:t>
            </a:r>
            <a:endParaRPr lang="id-ID" sz="1400" dirty="0">
              <a:solidFill>
                <a:schemeClr val="bg1">
                  <a:lumMod val="50000"/>
                </a:schemeClr>
              </a:solidFill>
            </a:endParaRPr>
          </a:p>
        </p:txBody>
      </p:sp>
      <p:sp>
        <p:nvSpPr>
          <p:cNvPr id="381" name="TextBox 380">
            <a:extLst>
              <a:ext uri="{FF2B5EF4-FFF2-40B4-BE49-F238E27FC236}">
                <a16:creationId xmlns:a16="http://schemas.microsoft.com/office/drawing/2014/main" id="{E40F0757-9888-4E4D-8293-AC5D14B20F41}"/>
              </a:ext>
            </a:extLst>
          </p:cNvPr>
          <p:cNvSpPr txBox="1"/>
          <p:nvPr/>
        </p:nvSpPr>
        <p:spPr>
          <a:xfrm>
            <a:off x="1077031" y="3576484"/>
            <a:ext cx="1902265" cy="707886"/>
          </a:xfrm>
          <a:prstGeom prst="rect">
            <a:avLst/>
          </a:prstGeom>
          <a:noFill/>
        </p:spPr>
        <p:txBody>
          <a:bodyPr wrap="square" lIns="0" rIns="0" rtlCol="0">
            <a:spAutoFit/>
          </a:bodyPr>
          <a:lstStyle/>
          <a:p>
            <a:r>
              <a:rPr lang="en-US" sz="2000" b="1" dirty="0"/>
              <a:t>Overview on MMs &amp; HMMs  </a:t>
            </a:r>
          </a:p>
        </p:txBody>
      </p:sp>
      <p:cxnSp>
        <p:nvCxnSpPr>
          <p:cNvPr id="382" name="Straight Connector 381">
            <a:extLst>
              <a:ext uri="{FF2B5EF4-FFF2-40B4-BE49-F238E27FC236}">
                <a16:creationId xmlns:a16="http://schemas.microsoft.com/office/drawing/2014/main" id="{ABD72EBC-0E67-4CB5-95C2-8B06DA8635FC}"/>
              </a:ext>
            </a:extLst>
          </p:cNvPr>
          <p:cNvCxnSpPr>
            <a:cxnSpLocks/>
          </p:cNvCxnSpPr>
          <p:nvPr/>
        </p:nvCxnSpPr>
        <p:spPr>
          <a:xfrm>
            <a:off x="2819400"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2A06AB9E-5D92-EC1C-CEFD-120A54BB4451}"/>
              </a:ext>
            </a:extLst>
          </p:cNvPr>
          <p:cNvGrpSpPr/>
          <p:nvPr/>
        </p:nvGrpSpPr>
        <p:grpSpPr>
          <a:xfrm rot="16200000" flipV="1">
            <a:off x="3164813" y="6610192"/>
            <a:ext cx="1729654" cy="848268"/>
            <a:chOff x="233739" y="283295"/>
            <a:chExt cx="1729654" cy="848268"/>
          </a:xfrm>
          <a:gradFill>
            <a:gsLst>
              <a:gs pos="0">
                <a:schemeClr val="accent5"/>
              </a:gs>
              <a:gs pos="100000">
                <a:schemeClr val="tx1">
                  <a:alpha val="0"/>
                </a:schemeClr>
              </a:gs>
            </a:gsLst>
            <a:lin ang="0" scaled="1"/>
          </a:gradFill>
        </p:grpSpPr>
        <p:grpSp>
          <p:nvGrpSpPr>
            <p:cNvPr id="384" name="Group 383">
              <a:extLst>
                <a:ext uri="{FF2B5EF4-FFF2-40B4-BE49-F238E27FC236}">
                  <a16:creationId xmlns:a16="http://schemas.microsoft.com/office/drawing/2014/main" id="{CAE0EBE8-5BA0-F001-320B-FE19E19DAB60}"/>
                </a:ext>
              </a:extLst>
            </p:cNvPr>
            <p:cNvGrpSpPr/>
            <p:nvPr/>
          </p:nvGrpSpPr>
          <p:grpSpPr>
            <a:xfrm rot="5400000">
              <a:off x="1055270" y="-538236"/>
              <a:ext cx="86591" cy="1729654"/>
              <a:chOff x="85292" y="59892"/>
              <a:chExt cx="86591" cy="1729654"/>
            </a:xfrm>
            <a:grpFill/>
          </p:grpSpPr>
          <p:sp>
            <p:nvSpPr>
              <p:cNvPr id="418" name="Oval 417">
                <a:extLst>
                  <a:ext uri="{FF2B5EF4-FFF2-40B4-BE49-F238E27FC236}">
                    <a16:creationId xmlns:a16="http://schemas.microsoft.com/office/drawing/2014/main" id="{355852D1-B925-A766-C63C-49A4CA6CDAB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9" name="Oval 418">
                <a:extLst>
                  <a:ext uri="{FF2B5EF4-FFF2-40B4-BE49-F238E27FC236}">
                    <a16:creationId xmlns:a16="http://schemas.microsoft.com/office/drawing/2014/main" id="{45151621-0519-B851-07FC-E3487FABC5D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0" name="Oval 419">
                <a:extLst>
                  <a:ext uri="{FF2B5EF4-FFF2-40B4-BE49-F238E27FC236}">
                    <a16:creationId xmlns:a16="http://schemas.microsoft.com/office/drawing/2014/main" id="{82B8E15B-6685-3F2D-5C91-1EB5EAFE9BA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1" name="Oval 420">
                <a:extLst>
                  <a:ext uri="{FF2B5EF4-FFF2-40B4-BE49-F238E27FC236}">
                    <a16:creationId xmlns:a16="http://schemas.microsoft.com/office/drawing/2014/main" id="{63895687-54F8-864F-797D-73F4866903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2" name="Oval 421">
                <a:extLst>
                  <a:ext uri="{FF2B5EF4-FFF2-40B4-BE49-F238E27FC236}">
                    <a16:creationId xmlns:a16="http://schemas.microsoft.com/office/drawing/2014/main" id="{A66EEF87-0609-9726-F08C-21E080166E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Oval 422">
                <a:extLst>
                  <a:ext uri="{FF2B5EF4-FFF2-40B4-BE49-F238E27FC236}">
                    <a16:creationId xmlns:a16="http://schemas.microsoft.com/office/drawing/2014/main" id="{932B1E1C-F05A-A90C-C006-BD7139F126D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Oval 423">
                <a:extLst>
                  <a:ext uri="{FF2B5EF4-FFF2-40B4-BE49-F238E27FC236}">
                    <a16:creationId xmlns:a16="http://schemas.microsoft.com/office/drawing/2014/main" id="{C2DF8317-195D-4805-38A3-85FF768E121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5" name="Oval 424">
                <a:extLst>
                  <a:ext uri="{FF2B5EF4-FFF2-40B4-BE49-F238E27FC236}">
                    <a16:creationId xmlns:a16="http://schemas.microsoft.com/office/drawing/2014/main" id="{852E940D-DBE0-0D73-FDC9-0E7C4368985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 name="Oval 425">
                <a:extLst>
                  <a:ext uri="{FF2B5EF4-FFF2-40B4-BE49-F238E27FC236}">
                    <a16:creationId xmlns:a16="http://schemas.microsoft.com/office/drawing/2014/main" id="{33D263C1-47E0-7358-A742-36423BEB895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 name="Oval 426">
                <a:extLst>
                  <a:ext uri="{FF2B5EF4-FFF2-40B4-BE49-F238E27FC236}">
                    <a16:creationId xmlns:a16="http://schemas.microsoft.com/office/drawing/2014/main" id="{AAB1929F-80A8-9763-4E3D-9DCFB5EBD10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5" name="Group 384">
              <a:extLst>
                <a:ext uri="{FF2B5EF4-FFF2-40B4-BE49-F238E27FC236}">
                  <a16:creationId xmlns:a16="http://schemas.microsoft.com/office/drawing/2014/main" id="{44D1E89C-5245-5CEF-95AF-2223DD8B15BE}"/>
                </a:ext>
              </a:extLst>
            </p:cNvPr>
            <p:cNvGrpSpPr/>
            <p:nvPr/>
          </p:nvGrpSpPr>
          <p:grpSpPr>
            <a:xfrm rot="5400000">
              <a:off x="1055270" y="-284344"/>
              <a:ext cx="86591" cy="1729654"/>
              <a:chOff x="85292" y="59892"/>
              <a:chExt cx="86591" cy="1729654"/>
            </a:xfrm>
            <a:grpFill/>
          </p:grpSpPr>
          <p:sp>
            <p:nvSpPr>
              <p:cNvPr id="408" name="Oval 407">
                <a:extLst>
                  <a:ext uri="{FF2B5EF4-FFF2-40B4-BE49-F238E27FC236}">
                    <a16:creationId xmlns:a16="http://schemas.microsoft.com/office/drawing/2014/main" id="{31E0D267-084D-6E08-3FFC-BF8B3EB4703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Oval 408">
                <a:extLst>
                  <a:ext uri="{FF2B5EF4-FFF2-40B4-BE49-F238E27FC236}">
                    <a16:creationId xmlns:a16="http://schemas.microsoft.com/office/drawing/2014/main" id="{CCDEC04E-2043-6CC5-5B72-6E8D3B42314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Oval 409">
                <a:extLst>
                  <a:ext uri="{FF2B5EF4-FFF2-40B4-BE49-F238E27FC236}">
                    <a16:creationId xmlns:a16="http://schemas.microsoft.com/office/drawing/2014/main" id="{24EFA235-14C9-C299-B8D1-A1299BF3D77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Oval 410">
                <a:extLst>
                  <a:ext uri="{FF2B5EF4-FFF2-40B4-BE49-F238E27FC236}">
                    <a16:creationId xmlns:a16="http://schemas.microsoft.com/office/drawing/2014/main" id="{7B2C3DEF-9CF0-0BF7-5454-C1D68468E84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Oval 411">
                <a:extLst>
                  <a:ext uri="{FF2B5EF4-FFF2-40B4-BE49-F238E27FC236}">
                    <a16:creationId xmlns:a16="http://schemas.microsoft.com/office/drawing/2014/main" id="{26A93FDA-E251-E8DD-0019-31F614694E2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3" name="Oval 412">
                <a:extLst>
                  <a:ext uri="{FF2B5EF4-FFF2-40B4-BE49-F238E27FC236}">
                    <a16:creationId xmlns:a16="http://schemas.microsoft.com/office/drawing/2014/main" id="{61E31690-50B4-8729-17F8-74ED2EFEACC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Oval 413">
                <a:extLst>
                  <a:ext uri="{FF2B5EF4-FFF2-40B4-BE49-F238E27FC236}">
                    <a16:creationId xmlns:a16="http://schemas.microsoft.com/office/drawing/2014/main" id="{6DC77756-DB1D-3BE3-1ABC-715973373A3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Oval 414">
                <a:extLst>
                  <a:ext uri="{FF2B5EF4-FFF2-40B4-BE49-F238E27FC236}">
                    <a16:creationId xmlns:a16="http://schemas.microsoft.com/office/drawing/2014/main" id="{856C57BE-52BA-9103-9A13-139BDEA490D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Oval 415">
                <a:extLst>
                  <a:ext uri="{FF2B5EF4-FFF2-40B4-BE49-F238E27FC236}">
                    <a16:creationId xmlns:a16="http://schemas.microsoft.com/office/drawing/2014/main" id="{271D3918-5780-DBA5-36D9-DD1E822DE97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Oval 416">
                <a:extLst>
                  <a:ext uri="{FF2B5EF4-FFF2-40B4-BE49-F238E27FC236}">
                    <a16:creationId xmlns:a16="http://schemas.microsoft.com/office/drawing/2014/main" id="{37A5B129-FE14-879D-AAF4-86A7A34478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6" name="Group 385">
              <a:extLst>
                <a:ext uri="{FF2B5EF4-FFF2-40B4-BE49-F238E27FC236}">
                  <a16:creationId xmlns:a16="http://schemas.microsoft.com/office/drawing/2014/main" id="{DEC235FF-BDF9-DC76-865B-CC5AA71FBD4A}"/>
                </a:ext>
              </a:extLst>
            </p:cNvPr>
            <p:cNvGrpSpPr/>
            <p:nvPr/>
          </p:nvGrpSpPr>
          <p:grpSpPr>
            <a:xfrm rot="5400000">
              <a:off x="1055270" y="-30452"/>
              <a:ext cx="86591" cy="1729654"/>
              <a:chOff x="85292" y="59892"/>
              <a:chExt cx="86591" cy="1729654"/>
            </a:xfrm>
            <a:grpFill/>
          </p:grpSpPr>
          <p:sp>
            <p:nvSpPr>
              <p:cNvPr id="398" name="Oval 397">
                <a:extLst>
                  <a:ext uri="{FF2B5EF4-FFF2-40B4-BE49-F238E27FC236}">
                    <a16:creationId xmlns:a16="http://schemas.microsoft.com/office/drawing/2014/main" id="{9835484F-25F2-0B92-B436-E082B989A6B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9" name="Oval 398">
                <a:extLst>
                  <a:ext uri="{FF2B5EF4-FFF2-40B4-BE49-F238E27FC236}">
                    <a16:creationId xmlns:a16="http://schemas.microsoft.com/office/drawing/2014/main" id="{E9D30D72-2A4A-A2C0-84B9-EF9FFE5F735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Oval 399">
                <a:extLst>
                  <a:ext uri="{FF2B5EF4-FFF2-40B4-BE49-F238E27FC236}">
                    <a16:creationId xmlns:a16="http://schemas.microsoft.com/office/drawing/2014/main" id="{BB2CA049-28F9-965A-333A-72E6405A60E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Oval 400">
                <a:extLst>
                  <a:ext uri="{FF2B5EF4-FFF2-40B4-BE49-F238E27FC236}">
                    <a16:creationId xmlns:a16="http://schemas.microsoft.com/office/drawing/2014/main" id="{767CEA9F-9179-9FC2-B574-92DC05181E7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Oval 401">
                <a:extLst>
                  <a:ext uri="{FF2B5EF4-FFF2-40B4-BE49-F238E27FC236}">
                    <a16:creationId xmlns:a16="http://schemas.microsoft.com/office/drawing/2014/main" id="{62A6CE55-8B5C-A46A-74A8-8994BB1A70A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Oval 402">
                <a:extLst>
                  <a:ext uri="{FF2B5EF4-FFF2-40B4-BE49-F238E27FC236}">
                    <a16:creationId xmlns:a16="http://schemas.microsoft.com/office/drawing/2014/main" id="{CC16A954-24CD-1210-FFFA-239DC92B66B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Oval 403">
                <a:extLst>
                  <a:ext uri="{FF2B5EF4-FFF2-40B4-BE49-F238E27FC236}">
                    <a16:creationId xmlns:a16="http://schemas.microsoft.com/office/drawing/2014/main" id="{6F0B923A-BE5A-8893-7364-9652C12D589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E9DB0490-FF09-FBA1-29E9-CBDA84882B7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Oval 405">
                <a:extLst>
                  <a:ext uri="{FF2B5EF4-FFF2-40B4-BE49-F238E27FC236}">
                    <a16:creationId xmlns:a16="http://schemas.microsoft.com/office/drawing/2014/main" id="{76F705E4-E474-79BE-CABF-DFA6B7E669F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Oval 406">
                <a:extLst>
                  <a:ext uri="{FF2B5EF4-FFF2-40B4-BE49-F238E27FC236}">
                    <a16:creationId xmlns:a16="http://schemas.microsoft.com/office/drawing/2014/main" id="{625DD223-B259-0D5A-49FA-F3D69AA048E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7" name="Group 386">
              <a:extLst>
                <a:ext uri="{FF2B5EF4-FFF2-40B4-BE49-F238E27FC236}">
                  <a16:creationId xmlns:a16="http://schemas.microsoft.com/office/drawing/2014/main" id="{73B201A0-5313-E526-523A-F0A92AE681C1}"/>
                </a:ext>
              </a:extLst>
            </p:cNvPr>
            <p:cNvGrpSpPr/>
            <p:nvPr/>
          </p:nvGrpSpPr>
          <p:grpSpPr>
            <a:xfrm rot="5400000">
              <a:off x="1055270" y="223441"/>
              <a:ext cx="86591" cy="1729654"/>
              <a:chOff x="85292" y="59892"/>
              <a:chExt cx="86591" cy="1729654"/>
            </a:xfrm>
            <a:grpFill/>
          </p:grpSpPr>
          <p:sp>
            <p:nvSpPr>
              <p:cNvPr id="388" name="Oval 387">
                <a:extLst>
                  <a:ext uri="{FF2B5EF4-FFF2-40B4-BE49-F238E27FC236}">
                    <a16:creationId xmlns:a16="http://schemas.microsoft.com/office/drawing/2014/main" id="{85F69AB7-511F-B707-7319-7A38F4E871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78515BAC-9F70-AAE4-F349-B7EB1CB3672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F92C39BE-5E95-78CC-A3A2-243D0DF4CB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D137F1D9-3468-5D26-9DAC-69B9AEC8BB8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F9264CFD-B4F8-8BB1-7B25-EC06B289200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1F4699B7-D78E-3C2E-CCB5-39BE753B05B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34144BFE-57EE-285B-760C-8B24EE8AD95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Oval 394">
                <a:extLst>
                  <a:ext uri="{FF2B5EF4-FFF2-40B4-BE49-F238E27FC236}">
                    <a16:creationId xmlns:a16="http://schemas.microsoft.com/office/drawing/2014/main" id="{5A3A5E0B-312B-4D07-2A0B-AF5F033708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Oval 395">
                <a:extLst>
                  <a:ext uri="{FF2B5EF4-FFF2-40B4-BE49-F238E27FC236}">
                    <a16:creationId xmlns:a16="http://schemas.microsoft.com/office/drawing/2014/main" id="{B2DE9050-2970-92B7-7052-598C5B04DA8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Oval 396">
                <a:extLst>
                  <a:ext uri="{FF2B5EF4-FFF2-40B4-BE49-F238E27FC236}">
                    <a16:creationId xmlns:a16="http://schemas.microsoft.com/office/drawing/2014/main" id="{D473583B-EF51-8835-2C75-C5E284685D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28" name="Straight Connector 427">
            <a:extLst>
              <a:ext uri="{FF2B5EF4-FFF2-40B4-BE49-F238E27FC236}">
                <a16:creationId xmlns:a16="http://schemas.microsoft.com/office/drawing/2014/main" id="{EF46D7C7-A5BC-AA73-12CA-E6D8A135FAA6}"/>
              </a:ext>
            </a:extLst>
          </p:cNvPr>
          <p:cNvCxnSpPr>
            <a:cxnSpLocks/>
          </p:cNvCxnSpPr>
          <p:nvPr/>
        </p:nvCxnSpPr>
        <p:spPr>
          <a:xfrm flipH="1">
            <a:off x="10476998" y="6146758"/>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29" name="Oval 428">
            <a:extLst>
              <a:ext uri="{FF2B5EF4-FFF2-40B4-BE49-F238E27FC236}">
                <a16:creationId xmlns:a16="http://schemas.microsoft.com/office/drawing/2014/main" id="{1976DCD6-55AD-288D-B980-7D841EE30952}"/>
              </a:ext>
            </a:extLst>
          </p:cNvPr>
          <p:cNvSpPr/>
          <p:nvPr/>
        </p:nvSpPr>
        <p:spPr>
          <a:xfrm>
            <a:off x="9478159" y="5611469"/>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 name="Oval 429">
            <a:extLst>
              <a:ext uri="{FF2B5EF4-FFF2-40B4-BE49-F238E27FC236}">
                <a16:creationId xmlns:a16="http://schemas.microsoft.com/office/drawing/2014/main" id="{EA1E2C41-7302-2D7A-869B-C329B658E337}"/>
              </a:ext>
            </a:extLst>
          </p:cNvPr>
          <p:cNvSpPr/>
          <p:nvPr/>
        </p:nvSpPr>
        <p:spPr>
          <a:xfrm>
            <a:off x="10187859" y="5857620"/>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1" name="Rectangle: Rounded Corners 430">
            <a:hlinkClick r:id="rId8" action="ppaction://hlinksldjump"/>
            <a:extLst>
              <a:ext uri="{FF2B5EF4-FFF2-40B4-BE49-F238E27FC236}">
                <a16:creationId xmlns:a16="http://schemas.microsoft.com/office/drawing/2014/main" id="{D8129C31-4F31-4DF3-AECB-ECA543CA282A}"/>
              </a:ext>
            </a:extLst>
          </p:cNvPr>
          <p:cNvSpPr/>
          <p:nvPr/>
        </p:nvSpPr>
        <p:spPr>
          <a:xfrm>
            <a:off x="8945297"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TextBox 431">
            <a:extLst>
              <a:ext uri="{FF2B5EF4-FFF2-40B4-BE49-F238E27FC236}">
                <a16:creationId xmlns:a16="http://schemas.microsoft.com/office/drawing/2014/main" id="{35CD1D5F-1D40-42EC-917D-C6FB56D1E8A9}"/>
              </a:ext>
            </a:extLst>
          </p:cNvPr>
          <p:cNvSpPr txBox="1"/>
          <p:nvPr/>
        </p:nvSpPr>
        <p:spPr>
          <a:xfrm>
            <a:off x="9212704" y="2789182"/>
            <a:ext cx="1902264"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4.</a:t>
            </a:r>
            <a:endParaRPr lang="en-US" sz="4400" dirty="0">
              <a:solidFill>
                <a:srgbClr val="168DA5"/>
              </a:solidFill>
            </a:endParaRPr>
          </a:p>
        </p:txBody>
      </p:sp>
      <p:sp>
        <p:nvSpPr>
          <p:cNvPr id="433" name="TextBox 432">
            <a:extLst>
              <a:ext uri="{FF2B5EF4-FFF2-40B4-BE49-F238E27FC236}">
                <a16:creationId xmlns:a16="http://schemas.microsoft.com/office/drawing/2014/main" id="{97F90A4F-29A8-41FF-A836-B31D6421E464}"/>
              </a:ext>
            </a:extLst>
          </p:cNvPr>
          <p:cNvSpPr txBox="1"/>
          <p:nvPr/>
        </p:nvSpPr>
        <p:spPr>
          <a:xfrm>
            <a:off x="9207557" y="4586195"/>
            <a:ext cx="1902265" cy="1169551"/>
          </a:xfrm>
          <a:prstGeom prst="rect">
            <a:avLst/>
          </a:prstGeom>
          <a:noFill/>
        </p:spPr>
        <p:txBody>
          <a:bodyPr wrap="square" lIns="0" rIns="0" rtlCol="0">
            <a:spAutoFit/>
          </a:bodyPr>
          <a:lstStyle/>
          <a:p>
            <a:r>
              <a:rPr lang="en-US" sz="1400" dirty="0">
                <a:solidFill>
                  <a:schemeClr val="bg1">
                    <a:lumMod val="50000"/>
                  </a:schemeClr>
                </a:solidFill>
                <a:latin typeface="Söhne"/>
              </a:rPr>
              <a:t>D</a:t>
            </a:r>
            <a:r>
              <a:rPr lang="en-US" sz="1400" b="0" i="0" dirty="0">
                <a:solidFill>
                  <a:schemeClr val="bg1">
                    <a:lumMod val="50000"/>
                  </a:schemeClr>
                </a:solidFill>
                <a:effectLst/>
                <a:latin typeface="Söhne"/>
              </a:rPr>
              <a:t>iscuss the challenges associated with the Baum-Welch Algorithm, addressing complexities </a:t>
            </a:r>
            <a:r>
              <a:rPr lang="en-US" sz="1400" dirty="0">
                <a:solidFill>
                  <a:schemeClr val="bg1">
                    <a:lumMod val="50000"/>
                  </a:schemeClr>
                </a:solidFill>
                <a:latin typeface="Söhne"/>
              </a:rPr>
              <a:t>&amp;</a:t>
            </a:r>
            <a:r>
              <a:rPr lang="en-US" sz="1400" b="0" i="0" dirty="0">
                <a:solidFill>
                  <a:schemeClr val="bg1">
                    <a:lumMod val="50000"/>
                  </a:schemeClr>
                </a:solidFill>
                <a:effectLst/>
                <a:latin typeface="Söhne"/>
              </a:rPr>
              <a:t> potential limitations. </a:t>
            </a:r>
            <a:endParaRPr lang="id-ID" sz="1400" dirty="0">
              <a:solidFill>
                <a:schemeClr val="bg1">
                  <a:lumMod val="50000"/>
                </a:schemeClr>
              </a:solidFill>
            </a:endParaRPr>
          </a:p>
        </p:txBody>
      </p:sp>
      <p:sp>
        <p:nvSpPr>
          <p:cNvPr id="434" name="TextBox 433">
            <a:extLst>
              <a:ext uri="{FF2B5EF4-FFF2-40B4-BE49-F238E27FC236}">
                <a16:creationId xmlns:a16="http://schemas.microsoft.com/office/drawing/2014/main" id="{8950C44B-DAFE-4D0B-9351-D237265B33FF}"/>
              </a:ext>
            </a:extLst>
          </p:cNvPr>
          <p:cNvSpPr txBox="1"/>
          <p:nvPr/>
        </p:nvSpPr>
        <p:spPr>
          <a:xfrm>
            <a:off x="9212704" y="3576484"/>
            <a:ext cx="1902264" cy="1015663"/>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Baum-Welch Algorithm Challenges</a:t>
            </a:r>
          </a:p>
        </p:txBody>
      </p:sp>
      <p:cxnSp>
        <p:nvCxnSpPr>
          <p:cNvPr id="435" name="Straight Connector 434">
            <a:extLst>
              <a:ext uri="{FF2B5EF4-FFF2-40B4-BE49-F238E27FC236}">
                <a16:creationId xmlns:a16="http://schemas.microsoft.com/office/drawing/2014/main" id="{B39EC4D9-FE01-45E4-A52E-0641ADA91057}"/>
              </a:ext>
            </a:extLst>
          </p:cNvPr>
          <p:cNvCxnSpPr>
            <a:cxnSpLocks/>
          </p:cNvCxnSpPr>
          <p:nvPr/>
        </p:nvCxnSpPr>
        <p:spPr>
          <a:xfrm>
            <a:off x="10955073"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437" name="Group 436">
            <a:extLst>
              <a:ext uri="{FF2B5EF4-FFF2-40B4-BE49-F238E27FC236}">
                <a16:creationId xmlns:a16="http://schemas.microsoft.com/office/drawing/2014/main" id="{2607F6F6-0676-0D62-182E-AF7C74D092E1}"/>
              </a:ext>
            </a:extLst>
          </p:cNvPr>
          <p:cNvGrpSpPr/>
          <p:nvPr/>
        </p:nvGrpSpPr>
        <p:grpSpPr>
          <a:xfrm rot="16200000" flipV="1">
            <a:off x="11007876" y="5421466"/>
            <a:ext cx="1835717" cy="848268"/>
            <a:chOff x="233739" y="283295"/>
            <a:chExt cx="1729654" cy="848268"/>
          </a:xfrm>
          <a:gradFill>
            <a:gsLst>
              <a:gs pos="0">
                <a:schemeClr val="accent5"/>
              </a:gs>
              <a:gs pos="100000">
                <a:schemeClr val="tx1">
                  <a:alpha val="0"/>
                </a:schemeClr>
              </a:gs>
            </a:gsLst>
            <a:lin ang="0" scaled="1"/>
          </a:gradFill>
        </p:grpSpPr>
        <p:grpSp>
          <p:nvGrpSpPr>
            <p:cNvPr id="438" name="Group 437">
              <a:extLst>
                <a:ext uri="{FF2B5EF4-FFF2-40B4-BE49-F238E27FC236}">
                  <a16:creationId xmlns:a16="http://schemas.microsoft.com/office/drawing/2014/main" id="{FB046F10-0C50-255F-4099-4C62463C7109}"/>
                </a:ext>
              </a:extLst>
            </p:cNvPr>
            <p:cNvGrpSpPr/>
            <p:nvPr/>
          </p:nvGrpSpPr>
          <p:grpSpPr>
            <a:xfrm rot="5400000">
              <a:off x="1055270" y="-538236"/>
              <a:ext cx="86591" cy="1729654"/>
              <a:chOff x="85292" y="59892"/>
              <a:chExt cx="86591" cy="1729654"/>
            </a:xfrm>
            <a:grpFill/>
          </p:grpSpPr>
          <p:sp>
            <p:nvSpPr>
              <p:cNvPr id="472" name="Oval 471">
                <a:extLst>
                  <a:ext uri="{FF2B5EF4-FFF2-40B4-BE49-F238E27FC236}">
                    <a16:creationId xmlns:a16="http://schemas.microsoft.com/office/drawing/2014/main" id="{965F119D-CBDB-83C9-1A20-659DBCD8118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2DD36C6E-70F4-755C-95A3-953EBCD14E0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288A8908-4766-044B-A1FF-E610C9830F1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8DFDC5D3-CD9F-DE92-711C-0FA738DB98B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Oval 475">
                <a:extLst>
                  <a:ext uri="{FF2B5EF4-FFF2-40B4-BE49-F238E27FC236}">
                    <a16:creationId xmlns:a16="http://schemas.microsoft.com/office/drawing/2014/main" id="{5D1C0475-11A0-CCA4-58BD-436AA6DC9B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67C6537C-345A-FBA9-44F1-B10F43EC9DD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592DC8C1-5064-BD43-4DBD-36690C1437D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C438CB2A-7D1F-FFD4-CA90-2CC5A4C292B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0B014A57-FB6C-9660-71BF-B5F16DD204B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6B830D51-AC3D-1F6D-82DC-330D4F8281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9" name="Group 438">
              <a:extLst>
                <a:ext uri="{FF2B5EF4-FFF2-40B4-BE49-F238E27FC236}">
                  <a16:creationId xmlns:a16="http://schemas.microsoft.com/office/drawing/2014/main" id="{34D7D15E-D087-1FFB-26F6-5B5D23403990}"/>
                </a:ext>
              </a:extLst>
            </p:cNvPr>
            <p:cNvGrpSpPr/>
            <p:nvPr/>
          </p:nvGrpSpPr>
          <p:grpSpPr>
            <a:xfrm rot="5400000">
              <a:off x="1055270" y="-284344"/>
              <a:ext cx="86591" cy="1729654"/>
              <a:chOff x="85292" y="59892"/>
              <a:chExt cx="86591" cy="1729654"/>
            </a:xfrm>
            <a:grpFill/>
          </p:grpSpPr>
          <p:sp>
            <p:nvSpPr>
              <p:cNvPr id="462" name="Oval 461">
                <a:extLst>
                  <a:ext uri="{FF2B5EF4-FFF2-40B4-BE49-F238E27FC236}">
                    <a16:creationId xmlns:a16="http://schemas.microsoft.com/office/drawing/2014/main" id="{C753DEDB-B13E-35B0-2581-2A83A24FC07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CB6D1B5E-4C41-7BAA-E0D6-95ED18913DB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0BAEF432-CC53-34FE-BB07-93A39BACB70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366C7F49-D53D-3FFA-7262-659A78BF0F5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6" name="Oval 465">
                <a:extLst>
                  <a:ext uri="{FF2B5EF4-FFF2-40B4-BE49-F238E27FC236}">
                    <a16:creationId xmlns:a16="http://schemas.microsoft.com/office/drawing/2014/main" id="{26EEC5B2-DA60-15F3-025A-E3067C6CA5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B9AA656A-6CA8-A3EB-A5C2-93D0BCA059B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F70FEAE3-0830-210C-0705-AA74D34CA9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FD06848D-384E-32F4-776A-B63DF62C17C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F398EE72-15F3-1751-D269-04F9F0A4647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75082DBB-DEE5-3BDB-EB15-53CF81E1CBE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0" name="Group 439">
              <a:extLst>
                <a:ext uri="{FF2B5EF4-FFF2-40B4-BE49-F238E27FC236}">
                  <a16:creationId xmlns:a16="http://schemas.microsoft.com/office/drawing/2014/main" id="{0174D187-5004-59BE-A94B-D52D69FB2FE0}"/>
                </a:ext>
              </a:extLst>
            </p:cNvPr>
            <p:cNvGrpSpPr/>
            <p:nvPr/>
          </p:nvGrpSpPr>
          <p:grpSpPr>
            <a:xfrm rot="5400000">
              <a:off x="1055270" y="-30452"/>
              <a:ext cx="86591" cy="1729654"/>
              <a:chOff x="85292" y="59892"/>
              <a:chExt cx="86591" cy="1729654"/>
            </a:xfrm>
            <a:grpFill/>
          </p:grpSpPr>
          <p:sp>
            <p:nvSpPr>
              <p:cNvPr id="452" name="Oval 451">
                <a:extLst>
                  <a:ext uri="{FF2B5EF4-FFF2-40B4-BE49-F238E27FC236}">
                    <a16:creationId xmlns:a16="http://schemas.microsoft.com/office/drawing/2014/main" id="{FA38E030-9BA1-8019-59DD-5A980F761A0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3" name="Oval 452">
                <a:extLst>
                  <a:ext uri="{FF2B5EF4-FFF2-40B4-BE49-F238E27FC236}">
                    <a16:creationId xmlns:a16="http://schemas.microsoft.com/office/drawing/2014/main" id="{103C8267-3D2F-418E-0DFA-FE3EC5ECBD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Oval 453">
                <a:extLst>
                  <a:ext uri="{FF2B5EF4-FFF2-40B4-BE49-F238E27FC236}">
                    <a16:creationId xmlns:a16="http://schemas.microsoft.com/office/drawing/2014/main" id="{29989567-4311-88DC-1290-3138AA2416C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5" name="Oval 454">
                <a:extLst>
                  <a:ext uri="{FF2B5EF4-FFF2-40B4-BE49-F238E27FC236}">
                    <a16:creationId xmlns:a16="http://schemas.microsoft.com/office/drawing/2014/main" id="{E1F42238-1EC7-B8D5-37C1-9909D07FEE3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Oval 455">
                <a:extLst>
                  <a:ext uri="{FF2B5EF4-FFF2-40B4-BE49-F238E27FC236}">
                    <a16:creationId xmlns:a16="http://schemas.microsoft.com/office/drawing/2014/main" id="{CFBFD671-457D-4C7F-2C3C-73EA1E31F78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D53D5636-DCF5-25A2-1888-7735750AB92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4AA9B747-DEAA-DFBF-DE7E-CE1ACB30625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132F11FE-57D1-24AB-2285-D53BC067D0B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A72D4ABE-E3BE-F981-26EE-3D4851CFA69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88B4774B-1985-E5FE-C03D-250D6DE3D29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1" name="Group 440">
              <a:extLst>
                <a:ext uri="{FF2B5EF4-FFF2-40B4-BE49-F238E27FC236}">
                  <a16:creationId xmlns:a16="http://schemas.microsoft.com/office/drawing/2014/main" id="{738D8453-15DE-EFFB-B549-3F535E49D856}"/>
                </a:ext>
              </a:extLst>
            </p:cNvPr>
            <p:cNvGrpSpPr/>
            <p:nvPr/>
          </p:nvGrpSpPr>
          <p:grpSpPr>
            <a:xfrm rot="5400000">
              <a:off x="1055270" y="223441"/>
              <a:ext cx="86591" cy="1729654"/>
              <a:chOff x="85292" y="59892"/>
              <a:chExt cx="86591" cy="1729654"/>
            </a:xfrm>
            <a:grpFill/>
          </p:grpSpPr>
          <p:sp>
            <p:nvSpPr>
              <p:cNvPr id="442" name="Oval 441">
                <a:extLst>
                  <a:ext uri="{FF2B5EF4-FFF2-40B4-BE49-F238E27FC236}">
                    <a16:creationId xmlns:a16="http://schemas.microsoft.com/office/drawing/2014/main" id="{57C55D24-F79A-C740-20EC-DEE8E65F334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3" name="Oval 442">
                <a:extLst>
                  <a:ext uri="{FF2B5EF4-FFF2-40B4-BE49-F238E27FC236}">
                    <a16:creationId xmlns:a16="http://schemas.microsoft.com/office/drawing/2014/main" id="{DAB4BBA4-A6FA-86ED-E863-2B0A9AD614E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Oval 443">
                <a:extLst>
                  <a:ext uri="{FF2B5EF4-FFF2-40B4-BE49-F238E27FC236}">
                    <a16:creationId xmlns:a16="http://schemas.microsoft.com/office/drawing/2014/main" id="{91E08CA7-FC97-9C0C-7A5B-ED1C05CD889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5" name="Oval 444">
                <a:extLst>
                  <a:ext uri="{FF2B5EF4-FFF2-40B4-BE49-F238E27FC236}">
                    <a16:creationId xmlns:a16="http://schemas.microsoft.com/office/drawing/2014/main" id="{FAE026F8-DFEF-4F26-AA48-CC7F5850FBE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6" name="Oval 445">
                <a:extLst>
                  <a:ext uri="{FF2B5EF4-FFF2-40B4-BE49-F238E27FC236}">
                    <a16:creationId xmlns:a16="http://schemas.microsoft.com/office/drawing/2014/main" id="{2F38B583-CE2E-1E62-0DA1-BBFDCD69E66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Oval 446">
                <a:extLst>
                  <a:ext uri="{FF2B5EF4-FFF2-40B4-BE49-F238E27FC236}">
                    <a16:creationId xmlns:a16="http://schemas.microsoft.com/office/drawing/2014/main" id="{C6DE4D83-F50A-F6B3-127E-71F2FDD6199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8" name="Oval 447">
                <a:extLst>
                  <a:ext uri="{FF2B5EF4-FFF2-40B4-BE49-F238E27FC236}">
                    <a16:creationId xmlns:a16="http://schemas.microsoft.com/office/drawing/2014/main" id="{E38D75B5-902B-5AB7-B202-B7ABF8068CD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9" name="Oval 448">
                <a:extLst>
                  <a:ext uri="{FF2B5EF4-FFF2-40B4-BE49-F238E27FC236}">
                    <a16:creationId xmlns:a16="http://schemas.microsoft.com/office/drawing/2014/main" id="{1878AE97-67B2-E7EB-F5DD-54D1EE58A13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Oval 449">
                <a:extLst>
                  <a:ext uri="{FF2B5EF4-FFF2-40B4-BE49-F238E27FC236}">
                    <a16:creationId xmlns:a16="http://schemas.microsoft.com/office/drawing/2014/main" id="{46437AC5-940A-D6EC-61A9-6C34D9B4292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1" name="Oval 450">
                <a:extLst>
                  <a:ext uri="{FF2B5EF4-FFF2-40B4-BE49-F238E27FC236}">
                    <a16:creationId xmlns:a16="http://schemas.microsoft.com/office/drawing/2014/main" id="{6ED452BE-F9E4-BAD7-B258-7D5F8A0C71F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787465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129CE-462E-71F5-245B-7DFF8BEF7DF5}"/>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2FA48C90-7EBD-E399-7F5B-04372DB0E3F2}"/>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26D270D6-CC98-78F1-C263-E782BB894994}"/>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5E418A74-2BC0-11C2-4042-1C5E2AA9DFDC}"/>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2D688246-AC9A-80F8-3E2A-C662C5A0EA2F}"/>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EFC1798-D654-4474-B124-9E8A7C379F18}"/>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A84D1BD2-2FE8-0A15-579A-BE129A073451}"/>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5ABC532C-FED7-455C-6607-BFFD40E73C05}"/>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5DDF83B9-8EB7-660E-042C-EE16CFCBF586}"/>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C30C183C-0DCA-7264-32FC-3D36B026592D}"/>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4AA4150-2F63-1D26-D548-14BBE9E2F049}"/>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C9FB6F47-6C83-3208-1596-873B9F3E1A14}"/>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8</a:t>
            </a:r>
          </a:p>
        </p:txBody>
      </p:sp>
      <p:grpSp>
        <p:nvGrpSpPr>
          <p:cNvPr id="170" name="Group 169">
            <a:extLst>
              <a:ext uri="{FF2B5EF4-FFF2-40B4-BE49-F238E27FC236}">
                <a16:creationId xmlns:a16="http://schemas.microsoft.com/office/drawing/2014/main" id="{09C3DD7A-3826-62F3-DA11-93088CA55048}"/>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4D31E584-5AD0-CF7B-D769-25B2945F57BE}"/>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D61EED2D-306D-6D7C-8DD9-740B8FD8A4F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E5895E75-C33A-D176-93A4-B4D2849CA99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FAC493CF-DCD9-8452-1678-8CEA95ADA71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5B01D3BF-5D0F-259E-1D4B-F32088515C5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61D2130E-6132-D656-B3A8-A3463C47C41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9C7C4306-E0BA-8734-D97A-C023F5A2AE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209E68C5-1445-C2C1-2515-F0B584E343B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2758EF53-6758-86FB-012F-96B502E361F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11DFDB19-9CE4-17A3-93E2-911314ACFDF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084DB9B1-F88C-727B-09A1-2D323ACF611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37E1E394-21EA-7FED-2059-EA78E4CD6DA5}"/>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F3A6C816-1577-78E4-B380-FC8A6BE5034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1EC752C8-16C9-0D45-28E3-BBBBDB02D3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E8061DAE-0EA1-FB71-F2C2-E81C242882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B5E6CF3E-79B8-B0E4-9AC4-4D1C49D6ED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12BA37E1-FE97-9325-72C4-9B3BB65110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30411D00-1E46-3663-6F14-697EE6BEECA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C6505FD0-81BA-4201-F440-617314B009B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F669F9B2-4679-9A49-E05B-E08C13AA21C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F55D0282-8E9C-433E-A123-8E9257B363F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F056DC69-00B2-50DB-C96D-4F313B7DB3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2EC42932-4290-351D-9657-1DD59EA453F7}"/>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65ECEB7C-5C19-90BB-E09A-969A1C46167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0D5043DB-7B73-5FFF-160F-B6B57BF2F3D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3FD71700-0A3E-AFA5-22D1-3AAC6E79C77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795717BD-C93B-A11F-C74B-615A3D2315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4FC1250B-DC85-9DAC-FA19-9041C8F662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5EAF664A-47B4-403E-2550-0FF6C080E38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487D9205-96CF-6C6F-7492-2305ACDE373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A04D1A5A-7E2B-D66B-0E5E-F24DC5DC344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911E1940-98FE-5836-B3DE-92D149F1B74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57EC7F69-5DBC-E4E2-AEC1-3222B01E93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05F5E860-54F0-FC03-A12D-584E2C41FF8A}"/>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7542A44E-E36D-205C-B03E-A003EC7C3AD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005BFD2A-95BF-21F5-CB3F-7A2E30D737A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F1A245CF-70B3-A9C2-5522-CB6A19FA648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70AFA469-761C-4E83-9F6B-6614B16690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F2C4C232-CD27-ABDA-9F90-9A82D484B8F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2B9E3265-3692-6E28-42CC-1285B223E2E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336F129F-E476-C452-0D7F-6057430BA77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F6171D58-98DF-CCD0-1868-20D2C8131B3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72A6C620-A8B3-482B-7D8C-0F25D6DEE5C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BD203B2C-2CE2-6BA8-2988-CAA388435AB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6F80E980-1245-F433-F3B3-57D1A3D549D7}"/>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A748C005-31A6-CA57-634B-3A80A9657B53}"/>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3A2DFBF8-FA6A-2E07-D408-ABB5D6B7A25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D011C978-A3BF-E921-E538-424793EED78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85A7703A-ADB4-C01D-0424-8263E27230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83CA26FF-B1A0-69E5-A97A-7CE35C150D2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C8EC47BF-297C-9896-CDC3-18CC693FEA2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25EB5C65-E22D-F63C-1896-2B6C9C72CD6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6812DA6F-A4BC-AB82-C01F-77BE908D43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C139AB38-0F24-7CE8-06F6-2691AE2716D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B649B7DA-AF55-2791-86BD-59C906E976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78237B98-EBCC-5641-0AEE-3A265532EFF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1FFC0771-7BFD-4664-355D-788E8AF55A55}"/>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FB70F890-B023-6E83-6481-235A96ACD5D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3D2FEE30-9C1B-EB9D-AD8E-FA98396D2EA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512F5DBE-5312-76C3-F7A7-27F97C20DF0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449B2A55-C427-9C7A-C9D5-9CDBF47BC88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C4F1608A-063A-81F0-950C-CDEFB4CFCA7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A5BE4C0C-5211-4907-6B2E-1AC9241F29D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3B7484DB-1316-6500-A944-B216C448DAA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609B2340-09B0-556B-1686-DB806532700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8FBE4845-D29E-188D-944A-C92395F143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ACC8162F-AEC6-B245-3CB3-28F639F2D6A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8562A4EA-8069-A52F-8322-91FBC7045168}"/>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7960A939-54C0-3C4F-05C8-97053FC78E7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8F90C3B6-E8B8-36CB-69C2-34727A55286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94AD27A3-4761-3EA3-5B86-285E81CD040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675F0C0B-0BC3-5E70-DCC1-DDDC6E2FBF0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9F39A6AE-9E6D-323F-9F69-A42678D8912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65355B2B-3E98-7ED1-293B-D424BA6F72B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7648D5C0-DEB1-E111-8522-ACE1E169651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141201B7-6F89-A426-ED49-43EC0B3AB05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8781EAFB-E3A0-526E-B86A-D6194D612BB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7720D318-E410-86C8-F310-0C2260D56E4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E5D865AF-79F6-C700-BC20-CD035696B4AC}"/>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C2859F16-3D2E-F4DD-C6BC-E753B4B1D14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B25CFF4B-31B6-6C1A-0910-D157FA85F24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41B17781-100D-5859-193F-503E4E66652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E73BFED2-9C8D-6B7D-3268-1EBF8F237B6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2DBD477D-5DCF-08B6-2B99-3DCD19158ED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F23B2B01-7FD7-B143-FBB7-4F47850FB6A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48AA7057-A376-0D12-E005-AA8DA3E905D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FA20397B-5321-C2B8-7004-5BA542BD725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70F8872E-17B5-46D9-B9AE-0C83B48C24D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30820F00-0708-6200-5491-F678F0FB1C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FA687672-629B-5ABB-7959-52393339D6F5}"/>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33A8F7B9-CBA6-A0DB-9AA6-D41CC325F3FF}"/>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B3AA38B1-CB81-9698-6863-3A77A1AF5D1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D7380215-AEF1-4D64-580C-E8930471BA4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53FAE0BD-7210-28DC-0683-B994DF98F1F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100C0CC5-23AB-58EC-369E-AFEA8A09308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320B306E-F995-72C8-04DB-6B0205C56A2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E5E547BC-ED9F-C53E-B0AA-2282C6998A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E1CD602D-1941-35CA-EDC6-2C21E510315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1F293DCD-D137-71F1-2A0F-622B1497D41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4413BB1E-DE4F-FA34-BED4-F4062B7CA3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2A741BBE-B369-FB0C-4A32-5A511265A67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CCD46904-FB0F-882C-AA59-1635D7E313E6}"/>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B45BCD1E-F034-18E3-61BD-E4E86001369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090430C7-7B35-ADAD-A79A-3E638E6FA06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030C0C65-73D0-7BBC-1A87-0F750A4B6FF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2F273714-5DED-E938-851E-9A9A96B157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8A5FB9F2-E3BA-D0CF-90A4-AEC9436BBB2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A31C41E2-A040-531F-F73C-F264CE6A09B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F91BE179-1528-ED3A-7B5D-EA4BCB2C149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DEF3A11D-E3E6-E8C9-A172-9ACD8606D96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071489C3-ED80-9D25-B181-FA305DECF36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A6BA57E7-EF37-4D14-ECE7-C2715F0C583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30C33917-20EA-1528-CA79-8162CF2E879E}"/>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C3A28D3A-E14A-C2EB-D314-70964296575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F06DB2E7-1AB0-8958-CD32-F61ED839D6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663C1168-0362-37F5-61A8-58EC5A8F5D8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F8FD0D34-98F4-09BE-5120-C5908724A8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6AFC5DE7-40C4-DAC5-00FC-CBBF3C44AD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96D9BC81-7B9A-6917-35FB-0BFD4B0609F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BDB450D3-6CDB-1EAF-D409-958CF5FD602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57C0A226-FE96-58EA-C0F5-60B9A5AB8F5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F8F6C6D8-BA0A-0FE9-56E2-56DBEC7EF46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E7E78A2E-9790-0410-D2E8-EE7CFFF297D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2F074AB1-0B3C-AFF9-B974-6253073098D7}"/>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CDB080A9-89C2-E2FD-0F41-52251A7CCCB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CB5092E1-6904-4D5C-AA0F-D81331CA35C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F916B479-6284-DCD8-5EAE-144ADF5002A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04B827DE-04B4-63C8-1DFF-3A112F63CD4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8288EC42-042E-21C0-AB62-99CACB6FAF5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82B75C7C-A89E-A533-EF78-E9DCC9D504F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BFA62D07-14BF-A4D7-3812-65B18FE0585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621D46AF-9A47-E4AE-BD0E-1E5C16CD049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DC57A496-8F0D-650A-37D0-548E9EBA28D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9016790D-BF84-866F-9793-6A5B1DA4E9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FCB03C12-9320-A501-1A47-B3AD8C414123}"/>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046EDDB8-0FD3-A80B-6135-33DCE3F543D8}"/>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026B8F8A-ACE5-4DBB-011C-3B4D1F41DAD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B5101583-419F-09C7-2055-566AD91AA45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2AD4B21A-4FB7-86F2-5A11-A94BC81C365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29B554AD-4109-44E9-1D48-2EFDABB272A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33F188A3-69C5-9722-9D10-8F9984321C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34CE4F42-F2BE-95E4-6E73-D16E684D0C7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297C8466-78E5-1682-442E-0435C4C2E56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D110F708-73CF-2170-60F0-C0C4C4A3D28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9D2AC9D4-4B0E-5173-7AB4-83230F55A66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AA7134C2-8DE2-EDD2-955C-D114CE23FBA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539FCC76-DE10-AE28-9741-3D5757307AFD}"/>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4DC44247-30C4-C4B8-17F2-923CC6B1AB3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89AE4C32-8E13-7EF4-17F7-0781E5657CE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C1CB5548-1DD3-EA64-0AFC-5592002ED34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C0136BEF-F1AE-F84B-ECF4-1BEB912C3ED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24B9DA17-A727-4524-4D59-AF87A123F4C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DC36A238-135E-00E1-4E28-4BF3B823B1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422AF839-ED49-37F0-38F2-6B0BD09F6D8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F7633ADD-5842-C20B-1607-4E2424BF40C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FFDBD7FB-531D-C717-F7EC-A76FF1B6102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EA6B6999-284B-D990-5BE4-351B164E0E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1CB8CC9B-2058-C6B0-3454-B2FCB99FD692}"/>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FB774E19-EB36-D1DC-6874-2AE3FA564B8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591E8243-44E8-9EB1-DC52-524D7155886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1AB8EC3E-6416-1F41-FDE5-9081A2B7E3D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A80E2F63-06BF-259D-8A2F-D5605E39672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3443F24B-7A98-9413-BCD4-A7238CD4470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5114D1C7-1F20-FC60-1249-51366181DAF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5A67C576-9438-25CA-8705-7CE80951751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710663FD-18CB-47C7-30C1-EED1C130C53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052F5FEC-837E-4710-B764-61834BCE8C2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219BA39F-6BB9-0791-1C23-42FADA75B7E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DF88BE2F-76C9-23B7-FC0E-F1E9FAEDB9A6}"/>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5DD364B9-BDA5-6018-A4B0-3A0C72E8009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D33FA36D-AC14-6643-8241-47079A77EAE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F4A8EDEA-4CFD-3CF4-8A42-27AD6F1025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09ACB509-367B-C8EC-E626-AF8D9B76DC8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066EB720-0C49-1DC5-DA02-CAFE4A10C43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341B9C44-D1E1-6C6E-35EE-401822F9EB6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8B67622A-1F50-7355-79AB-18BA54E9960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EFFF278A-F496-4547-A565-B617079B792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36EC4DFF-EF80-BE01-5EE8-BF442AB10C1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3286C5F2-C1AE-6B58-157D-2EFC1AE9FF6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F3F6D18B-763D-7850-883E-DF844E9A6373}"/>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92A77306-3230-2239-490C-14DB363E8EC5}"/>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7420A344-A2A9-989E-1C88-D190D0C4E283}"/>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F6232623-B579-C8FC-87C4-C7CBE79FB3DE}"/>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430204F1-2BB0-DE76-29C0-9A0E1ECD8497}"/>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24B3D494-76E4-2559-B45F-6E3655049D2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B8FDFE6B-41E1-8CDD-CD86-97B5D157FB9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F44DAAF0-D667-5311-CB53-C54D62B601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61FAAFC7-DBFF-572F-7729-D4A5B41B343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DE2FC3AE-84AD-713C-03ED-BDCB48624E5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844A22AE-40C8-D4EA-C369-49A92A93C10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84753BB1-7954-C0CB-2B0E-3DDC7837E2A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9A99C7F7-4A50-E495-6F21-943D795A371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E7BE310A-30EE-F143-9515-9348B4312CF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64B719B5-8C13-7D2B-2DD1-AAFF0DB63EC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6EF69B33-4408-A837-3E5D-85C874008E83}"/>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1F37CFAB-9920-D546-19B9-B3003259858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A7E7994F-5575-6DCA-8D1C-4E63BAF770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EB641A2A-CE1E-A190-6F5A-661E029270C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84A3BD3C-3E65-4D9F-42FA-6F232B75D2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7C5C1AB6-A2AA-BCC2-10BF-0F4D64D6221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82593630-08B1-C017-EC7D-991A237BA8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0EE72A3F-027F-1F45-80AF-519CCB1741F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43E44352-73DC-AD48-6CD7-57FAC5FF664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FF707C33-D1D2-9237-CC33-E81BBDF1733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506904FF-7348-2871-A517-1EBAF4A29FF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A39F9C87-0DD4-0A70-54F7-2C610AFD37C4}"/>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B31F778A-1FA2-F2C1-44CA-C7DB42FBA36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2BD8553A-81B2-D7B5-BCF2-913222B788F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98B9F8B3-FE74-76CE-0DE9-D3E428C526A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9A0C29D9-05DD-908B-9F31-4C81B8963FE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D3A47AAA-2A5B-431D-B664-3FE10A4C4AF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240EBD55-A8C5-5349-E867-34C262E7AD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B2765D0A-3372-C55D-CF6F-94A654CFD29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A3D82AD9-F07C-0A6A-8D48-7BE26112B32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49F72954-90F7-544C-7D01-0972FCC74AA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61B192FC-8ED4-5C51-6999-D3DE17B745C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9A53EA8B-E33C-24F4-54AC-03C7938873EA}"/>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05030206-3046-A772-1EFA-9EFC7D4A402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3BCD00F5-D21C-B33D-D79E-2B0C6ED4D65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3D83FED4-AC4E-C9CF-FBF2-A031944F83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8F4B5CA4-1916-63F9-0CEB-C0563D9FF8B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E84F6513-5088-3387-7F97-C9FDA391CA4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90D99CE4-84E8-3059-6E30-83FD2CBACCF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0E2B3E5C-E6C1-08A8-A4C1-C6AC995A7C0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3ED7612E-08C2-1422-7875-5CFED99AEDB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C8D10985-0098-1991-1415-B64DCD351D2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257D97F1-B7A2-F6A6-4D43-23BD5698AA3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extBox 1">
            <a:extLst>
              <a:ext uri="{FF2B5EF4-FFF2-40B4-BE49-F238E27FC236}">
                <a16:creationId xmlns:a16="http://schemas.microsoft.com/office/drawing/2014/main" id="{F964C0C0-7481-F6DB-03DF-7D2AFA5F3F72}"/>
              </a:ext>
            </a:extLst>
          </p:cNvPr>
          <p:cNvSpPr txBox="1"/>
          <p:nvPr/>
        </p:nvSpPr>
        <p:spPr>
          <a:xfrm>
            <a:off x="4139224" y="5179536"/>
            <a:ext cx="8817134" cy="830997"/>
          </a:xfrm>
          <a:prstGeom prst="rect">
            <a:avLst/>
          </a:prstGeom>
          <a:noFill/>
        </p:spPr>
        <p:txBody>
          <a:bodyPr wrap="square">
            <a:spAutoFit/>
          </a:bodyPr>
          <a:lstStyle/>
          <a:p>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Implementation using R</a:t>
            </a:r>
          </a:p>
        </p:txBody>
      </p:sp>
    </p:spTree>
    <p:extLst>
      <p:ext uri="{BB962C8B-B14F-4D97-AF65-F5344CB8AC3E}">
        <p14:creationId xmlns:p14="http://schemas.microsoft.com/office/powerpoint/2010/main" val="289784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FA3B9-D2D7-5250-B984-0E4E8671F981}"/>
            </a:ext>
          </a:extLst>
        </p:cNvPr>
        <p:cNvGrpSpPr/>
        <p:nvPr/>
      </p:nvGrpSpPr>
      <p:grpSpPr>
        <a:xfrm>
          <a:off x="0" y="0"/>
          <a:ext cx="0" cy="0"/>
          <a:chOff x="0" y="0"/>
          <a:chExt cx="0" cy="0"/>
        </a:xfrm>
      </p:grpSpPr>
      <p:pic>
        <p:nvPicPr>
          <p:cNvPr id="231" name="Picture 230">
            <a:extLst>
              <a:ext uri="{FF2B5EF4-FFF2-40B4-BE49-F238E27FC236}">
                <a16:creationId xmlns:a16="http://schemas.microsoft.com/office/drawing/2014/main" id="{B97361AE-ED70-DB85-17AD-5658AE3F3E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37" y="0"/>
            <a:ext cx="12165763" cy="6858000"/>
          </a:xfrm>
          <a:prstGeom prst="rect">
            <a:avLst/>
          </a:prstGeom>
        </p:spPr>
      </p:pic>
      <p:graphicFrame>
        <p:nvGraphicFramePr>
          <p:cNvPr id="104" name="Object 103" hidden="1">
            <a:extLst>
              <a:ext uri="{FF2B5EF4-FFF2-40B4-BE49-F238E27FC236}">
                <a16:creationId xmlns:a16="http://schemas.microsoft.com/office/drawing/2014/main" id="{053D14DD-5B12-C2EC-F819-87567C56A3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F45CCB4A-656F-E108-4535-E80ED1DAAD5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948AB0-F967-1397-37ED-0C1020FB9178}"/>
              </a:ext>
            </a:extLst>
          </p:cNvPr>
          <p:cNvSpPr/>
          <p:nvPr/>
        </p:nvSpPr>
        <p:spPr>
          <a:xfrm>
            <a:off x="39348" y="-16641"/>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FD1CC2A3-D438-84C2-C555-575C2F723342}"/>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B0FEE2E7-FFE1-30F8-677D-B9E23C0D8A39}"/>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F55A82C3-AC4C-A93E-190C-3BE6251DEEF5}"/>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C9AC943F-CF4C-0BA0-FD13-A58B4CF94225}"/>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2" name="Oval 231">
            <a:extLst>
              <a:ext uri="{FF2B5EF4-FFF2-40B4-BE49-F238E27FC236}">
                <a16:creationId xmlns:a16="http://schemas.microsoft.com/office/drawing/2014/main" id="{C59F78AE-700D-F0E4-386A-2DEBAEB30259}"/>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7C178805-7EF0-3C77-C147-F4DEF36A75C0}"/>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B29CA8BD-D5B6-11AF-D36A-919C0634219E}"/>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2FB8CDCB-3831-FD66-3A7E-A25A90AF269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8E881486-5EFC-D70F-C7D1-F1662857218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1B090400-A7CE-E496-9344-B8C2F48C1E0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AFFAE34E-FF7C-3870-ECDC-B585AE3D6A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89C2FEC8-49E6-E0ED-8B40-77900B89633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EAB410C0-23B5-C454-FC4D-8EAEBF9487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3083368B-0F68-5420-43C1-F741A43490A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2DD50F88-EE0E-45EE-4DF6-9535E5F2A21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B6D5757B-0CA8-7AD2-E45B-FB22EC0DCA5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35E9E8C8-8F0D-9508-C256-18CC9B1D84C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94490507-58F9-5432-9E9E-AB8CF27D472A}"/>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9269967E-D2FF-086A-CBB6-6E3679E5B04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E0D0FEB7-684D-D60B-3AF9-190104A6A32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E0BB9273-AEED-443F-A48F-7E80CEC3C5B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330F37DD-EFD5-3855-FDAF-6D669BD523C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4CE6FF6B-488A-5D40-3C1E-41BF6447FD6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4594195B-7CEE-D2BB-0027-FC152EF442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C9F04A44-6DDC-2799-3B03-DDD45067D5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CFE7B8A1-9738-962B-9AF1-2CD7721A039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96F3D5DA-D11C-4A12-F3B9-14028970BD0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24D1D15E-F0DE-61CB-2C49-17E3FA8BCD6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82BDCC57-B933-366B-7C0A-8AE003D1EA44}"/>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576BE1A7-CB23-E455-AC57-C731D788C3A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4F37FAD9-8B8F-0BB9-FB3C-DBE140AD039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E4C8A857-75F7-268D-E4FB-842574ADC53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CC463AB4-4CA9-ACCF-B87D-17CCCC75CEE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A6CCC24F-7F2E-B126-BD9B-2E53780E2EA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4C6B95B1-1F7C-C967-270C-B8A1F22E5DA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765D5B3E-0E57-4FF9-8E2A-072B933BBA4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0E648DB5-F241-063E-3CB0-6754BD4BBB9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70D57D99-69F4-337B-F1E9-70CC507AC91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B2E5BFCB-58AC-DED4-0B7F-1AB574A8627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F2AA83A4-953E-3CC5-0354-CC23F0FE1371}"/>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779638EF-E29F-9D6B-FA12-4D329D7CE3C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A10DE339-B2A4-DDBF-8428-1CFCCC87B83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181A0DC1-0F87-7BC7-633C-38590C41A53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46C10A60-C10D-FF19-83C2-CCB889120C6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D54EE0C6-8F4E-AC85-F9BE-D023A0D1762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C4C58B65-3E84-E101-283E-E732B691ED2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51452C48-294B-BF62-5A4F-B4EEFC6F554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97D23E35-6038-FB81-045B-86A4EE67C47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FD8B5953-CE02-C63E-8DE0-6C5967DD9F4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C58D6842-04AF-17EA-ED4E-312774C2A53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a:extLst>
              <a:ext uri="{FF2B5EF4-FFF2-40B4-BE49-F238E27FC236}">
                <a16:creationId xmlns:a16="http://schemas.microsoft.com/office/drawing/2014/main" id="{5C031871-F7F1-B512-75F5-A9F4671220FA}"/>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79BBCAB0-CA7F-9E17-42AE-AC9FF0F6216B}"/>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A5B8F1FF-8EA7-BD2A-503A-A2CD48CC150A}"/>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FF9A319A-47BF-1873-97EF-F828CAD5447E}"/>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37D71DB8-DC34-A2FD-CD6A-39633338B925}"/>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20C58826-0EC8-D734-084D-CDAEC9BC807B}"/>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8B2BE87B-E0F4-170F-EAAD-64E3F157BE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E2788504-DC5D-E2F4-D5F6-B9CA5E76366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57A138A7-AD5B-2DC8-7002-D115998E848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A522821E-D212-7CA7-D359-127B77DB48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BB985A18-1C23-A2B8-1AAF-6479D926027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5196A987-3906-41AA-382E-8E750678C1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FB5FA21F-CF76-D9ED-5691-88AECD6E049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B9718444-E399-8B40-9018-5BFBD5606AB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209AF042-5E2B-60C3-6B9D-F21C4FD6B21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043C1687-146C-FC42-108F-472F63E989C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72DC1425-6408-BD6E-60A5-64BAB93A3B4C}"/>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36C8218B-A30C-E9BE-4038-5723D8E48FE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CF586F90-A1D5-C471-5F7A-82C4119206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39180399-3E9F-6AD5-5DB4-D36619AA109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25837373-D2BD-9F3C-586C-EE96E917A2A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9736CCE3-F563-3FA4-25D3-B8DF15F3908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9B449F12-1023-E5DD-9EA8-C56EB05187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93B3F6C7-8314-E2AD-9051-93A1D7E6536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31A97C7B-DFC5-6A11-0F09-9F75F785256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9037C47F-0154-1ED6-9CAD-820C3CE3D7B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9C74BBBD-35E8-F127-330E-40AA02EDEF4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34234A62-2C61-A288-9951-A0086E49CDF1}"/>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4BBAF973-78E5-5FE0-AA5A-E50CFD0AB43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8348743F-17A2-4617-B29E-1BAD8DB2BF5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AFBF37C4-454C-3E59-0D33-327C4EAA27A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405C9917-A30A-2F70-8CA1-D249D27AED3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F5286064-2194-D20E-F462-A37365E83AD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BB12B93A-C796-88AE-37F1-75156345EE8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CBB6315F-44A2-FCEC-1BE1-F73DE78CEE4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6C71AC58-66E6-90C9-5D8F-B7FFB710AA3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BD403CAD-BEFC-0B5A-358F-70278F401CF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89AE801B-AF9F-EBB3-5C1E-5AE553F0BDC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956C12FB-9B1B-9473-3D61-FCC0866A5F19}"/>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E82486FC-CA96-95F5-530F-BDD912F5012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89D7482A-3C21-7CAC-4D9F-8041A394706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C88AD56B-0223-7D63-6000-830075C958A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F77FA365-4832-53C1-4673-CC223977BDB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A6468A16-26EC-2EBF-9764-47BA5D5559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83000FEA-BFBC-E819-082B-E4975240724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D53F6E9D-C6D3-7F08-C208-2ED227A63AB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6FE7B2D3-596F-6F31-C680-DBBA3272CFA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58AF42D1-833A-176A-C61F-61972AA22ED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8EDA884C-8967-6D42-2DA1-F552D3CD83A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A1F2A7A3-0084-2FB9-09AA-ED7929008044}"/>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1BB72718-2921-A359-D44C-916D16134B76}"/>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ACBF544F-8112-50A3-EE76-8BEEE2D3B2D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A4CA0E59-5843-F309-7957-510E54506D8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A88FA436-966F-C737-DD60-91484CF7732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E283AA15-BD06-2F09-1A66-BE8B45A78FC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9B59A1D1-67A4-7ED3-1D22-B673B339EC2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F36C48ED-4EF9-8707-CBBC-CF8B45F4DFC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AD458F96-E033-1C4C-29D1-33D985B87FB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795816CB-C1CE-D1DE-864A-1AB37A1DFBF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0422BD47-CAE2-91D8-5B23-674F5D229BA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344AEDFC-0128-7623-39C7-F06C43A0438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888578EF-15A7-FDF1-08B2-F647AB67D300}"/>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E557942B-42AA-7219-FB93-08554A43A03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4854EB5F-12AA-D2EE-1E2A-EBE735CC57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D02F96A9-87A3-E40B-1208-572515855C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A0D52353-3069-BCAA-893D-D842A89281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75CEFF68-01C9-F025-8B6D-399CC06CFBD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C306F1D7-E5CE-118B-519B-88F0D96D61C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12B54887-622F-DF96-B8C2-FC00192CA6C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A7A5453B-2E3D-ED81-E72C-B0334036671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BF6E8DD2-F13E-E8CB-8DA7-75F0A8213CE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337D90CD-A0C1-4530-4E83-3CA22A93779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97197628-226C-C235-A9E5-DEB389C8F8DB}"/>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BFA98C7D-BBB0-E4D2-E524-213A7BCC41D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01638449-2756-1B61-3EFE-6F65394AE21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CC16CC4F-07A5-F608-0903-BB4E227D6F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B8A247C3-A141-E5FB-CEAB-E1F1D2C334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50D23298-90A9-F969-DEAB-ED6AC47E1E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8CFD4948-D06D-5B97-9319-29D4700139B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5B7B3EF9-489A-9B5A-9487-F739650A6AB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37848429-C01D-FB9A-F84F-403661058B7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17DFD8F7-CEDF-F9A9-A860-3D453668A4A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39C181CE-6F78-D43C-51BC-0564EB0BB2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8024DE03-DF6F-EA00-1CA3-43EE662A960B}"/>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FFB96A40-2265-0009-A02E-0C88B42511C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7DDC8B7F-9469-75EF-C7E7-13E28CE7C4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1B2EFB38-2A61-2AF3-27B9-9791E8AC80A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78813188-875B-5798-5639-3790C950A9E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540CAD77-6EB2-BDEE-7D02-384E9C3F52A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331898B5-F753-235E-7EEB-DFADEBADEEB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AC309D80-7521-D7ED-8BBC-92BB91A6A29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35B35877-9FAE-431F-B2F9-0385B4D077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4A64747D-9CAF-7342-942C-AE5E6A8092B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69FC0C33-5FB2-71D9-9C69-EBE5AD600D1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C2435D15-08AC-CB7A-4025-CB97AD8938BB}"/>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6A1E0CC2-800A-D04B-7308-8C6B0362E670}"/>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1966F774-FD61-12A0-B3CB-5323480267F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BEE9E0A3-20CA-1D05-443A-D3B65749DAF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293C757E-C613-B0AE-0480-1388E2F05EF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4172A5FC-8929-9F46-32F1-AE023648C6B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75C34BFA-A505-0EF8-362F-A2C816D8BF9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5B6C0B93-45C4-5377-249F-90E8151604A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D96502F6-E2AA-29C1-CAE6-D115A05BE08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27F164FC-AC87-8630-DC42-4F484F57A67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77677797-D874-175E-16E6-C69C1D71E31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876BB5FD-F16C-45DE-C20D-66810E91C5F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A5983230-5040-BF8F-D0DF-840660EEED8B}"/>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9C6B6D17-4E8B-F03C-A473-A85E242B7BC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B9DB2BE6-F42A-1619-5A4F-87C83C71876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FA963B8A-371B-9BA5-B149-451FD8E5A90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362257BD-04E9-8D48-E0EA-6414ADA5814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326C0155-3E28-62FD-30DC-EB137384371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7F3F66DA-7AE5-DD67-3CF3-16BB2E696D4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5B600577-A272-BA59-83DC-F378D25E68A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D09AAD20-DC57-69B1-3BA9-CCD66CBAC4B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8E915789-EAFA-51ED-D31A-2924F2355E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CA56ACCF-977E-49AE-5F29-EE1D427EB9F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6AA2BF04-CFBE-C705-CEC4-3DCD0F3185D4}"/>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0047E7EA-A942-E186-4AEE-20EF561A3AD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A17B45ED-E2C4-62D2-E42D-B3728601302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E48362E6-F211-9090-9951-456BC834A2D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60889D71-B8C2-FBE4-81B7-4CD63DD3F4D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2F1F492C-FF17-173B-589B-C7FDF1239EA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E50EE1C6-3AE2-2B30-88E9-82A2B2704B5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7DEAC6AB-1E25-0FF1-529D-E6CDB9104C9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23713DD6-D1AC-31CA-4ADD-68CDBB5F047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3CB49B51-FBCF-A26D-99F7-DD5E64DCAB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FF9F9B78-6671-A00C-676B-CFE9C21B5A3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C358DCAA-649C-F4F6-D747-86AE0237C4C7}"/>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93678B62-FFEC-2C77-736B-6DFCDAACAF7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823369CE-D895-52F2-329B-883BC53D64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867A7D44-B42D-2D3E-6767-71E60D9C74A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F105BC97-4A85-3000-453E-6CFFBB0AED5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1842AE0B-F019-5490-DBB9-3789B8B283C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2031F911-7C11-6692-3825-713E29C6E0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4C31640C-7E41-FDB7-9FFF-214D89DAC58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1E2145C1-5454-7011-1346-0330CDD0066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CCA18E92-E912-156C-E962-E435DB6B83D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601D8709-D54D-FD04-C422-2187315EED2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4" name="Rectangle 223">
            <a:extLst>
              <a:ext uri="{FF2B5EF4-FFF2-40B4-BE49-F238E27FC236}">
                <a16:creationId xmlns:a16="http://schemas.microsoft.com/office/drawing/2014/main" id="{64A1BE1C-9E5C-901F-0600-1766F21476D6}"/>
              </a:ext>
            </a:extLst>
          </p:cNvPr>
          <p:cNvSpPr/>
          <p:nvPr/>
        </p:nvSpPr>
        <p:spPr>
          <a:xfrm>
            <a:off x="745811" y="402989"/>
            <a:ext cx="593842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R SOURCE CODE:</a:t>
            </a:r>
          </a:p>
        </p:txBody>
      </p:sp>
      <p:pic>
        <p:nvPicPr>
          <p:cNvPr id="225" name="Picture 224">
            <a:extLst>
              <a:ext uri="{FF2B5EF4-FFF2-40B4-BE49-F238E27FC236}">
                <a16:creationId xmlns:a16="http://schemas.microsoft.com/office/drawing/2014/main" id="{ED07D6EE-006C-47EA-63E8-F7A2812BE5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5893" y="1416126"/>
            <a:ext cx="7859812" cy="4065855"/>
          </a:xfrm>
          <a:prstGeom prst="rect">
            <a:avLst/>
          </a:prstGeom>
        </p:spPr>
      </p:pic>
      <p:sp>
        <p:nvSpPr>
          <p:cNvPr id="226" name="Rectangle: Rounded Corners 225">
            <a:hlinkClick r:id="rId9" action="ppaction://hlinkfile" highlightClick="1"/>
            <a:extLst>
              <a:ext uri="{FF2B5EF4-FFF2-40B4-BE49-F238E27FC236}">
                <a16:creationId xmlns:a16="http://schemas.microsoft.com/office/drawing/2014/main" id="{12F99B74-463E-D0B3-A371-5638FFEB4A67}"/>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spTree>
    <p:extLst>
      <p:ext uri="{BB962C8B-B14F-4D97-AF65-F5344CB8AC3E}">
        <p14:creationId xmlns:p14="http://schemas.microsoft.com/office/powerpoint/2010/main" val="323434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0F105-A29E-197D-75C6-4739EF7800C6}"/>
            </a:ext>
          </a:extLst>
        </p:cNvPr>
        <p:cNvGrpSpPr/>
        <p:nvPr/>
      </p:nvGrpSpPr>
      <p:grpSpPr>
        <a:xfrm>
          <a:off x="0" y="0"/>
          <a:ext cx="0" cy="0"/>
          <a:chOff x="0" y="0"/>
          <a:chExt cx="0" cy="0"/>
        </a:xfrm>
      </p:grpSpPr>
      <p:pic>
        <p:nvPicPr>
          <p:cNvPr id="231" name="Picture 230">
            <a:extLst>
              <a:ext uri="{FF2B5EF4-FFF2-40B4-BE49-F238E27FC236}">
                <a16:creationId xmlns:a16="http://schemas.microsoft.com/office/drawing/2014/main" id="{9E2F0140-7506-6CDB-4A6F-5F601DCD27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37" y="0"/>
            <a:ext cx="12165763" cy="6858000"/>
          </a:xfrm>
          <a:prstGeom prst="rect">
            <a:avLst/>
          </a:prstGeom>
        </p:spPr>
      </p:pic>
      <p:graphicFrame>
        <p:nvGraphicFramePr>
          <p:cNvPr id="104" name="Object 103" hidden="1">
            <a:extLst>
              <a:ext uri="{FF2B5EF4-FFF2-40B4-BE49-F238E27FC236}">
                <a16:creationId xmlns:a16="http://schemas.microsoft.com/office/drawing/2014/main" id="{8A8B322B-FAB5-9F6B-AC5B-51A73A8D458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053D14DD-5B12-C2EC-F819-87567C56A3A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4E50678-AFB3-8CFF-72EC-105E91665AAE}"/>
              </a:ext>
            </a:extLst>
          </p:cNvPr>
          <p:cNvSpPr/>
          <p:nvPr/>
        </p:nvSpPr>
        <p:spPr>
          <a:xfrm>
            <a:off x="15971"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6D07174A-01ED-A93D-62AB-228167CC87E8}"/>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335551E3-637E-E335-5106-A6A97EFAE43A}"/>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56565643-A436-C789-BDF8-5E50ABB9DF24}"/>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04619207-4ED3-EA81-3618-33DAB5D9EA6E}"/>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440FDD98-9098-B1AB-9EA4-EB16E22F9398}"/>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540F2C25-3429-5A13-6D06-C6141BA354BA}"/>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D7ED9B12-E672-2A20-E131-D969CEB76A6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D721353A-C619-A4AB-408B-5EABCBB7FED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03C5D885-54BB-66CA-9C90-DD88EDCD9A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808BFC59-E32A-052F-BB4E-66D904CEB1A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F2367389-1476-50D8-7DD8-4D2C86C7591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E6FC8713-445C-EFFE-01D8-A3D3A1A2039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0F9401C7-D6CF-49E9-8DA9-F35CBA482E0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C3C26FD5-26EE-7EB8-8B4F-C041D6DBA67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6B7901C4-19FA-98D7-502D-FD9AEDFE148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D593611D-9C75-4A60-DAAA-59932A386E0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962BB478-CACC-615F-CDAD-2011FE8F0847}"/>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1172673B-5746-DB42-1FDD-FE4BC531D6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23BFCD7A-8EE2-BA3B-4699-0E7280ADACD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13EE001F-924C-1F06-92FC-958C24F03FA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9DE105A4-0F43-8D65-9739-E130F9FBC62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3DF7CA6A-A628-DDC3-A812-95718252DC1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DB088B6A-1F89-0CB0-AAEE-E4FF6A6F2D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277CA7C9-3E2D-9155-EB24-F086847FE1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AEBD2745-CA72-5EA4-D61E-C68F86C1D42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C381CF04-8E46-8C8D-9DDF-EBFFDAD8906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B7A51590-7E41-6DD5-736D-E244E3C76B7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328FCF8D-844A-1F29-BF0D-33BE45CCD7D2}"/>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7FC1D728-4D8D-7187-97E8-B27A0C50AC8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DD18F7D-025E-D121-9341-25782913BB2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6DDE5C29-1EE2-C3F3-B8A2-D3E967A9593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E99EE805-652B-75D6-F5C1-EEC2AD8C060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78132F3D-D7B7-AD0C-1B3A-6BD0834FE35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2AE4E1AD-E77A-CC47-446A-7380029A85F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1A879D1C-85D8-C44D-F0A0-8869329BDEB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49EBE6A0-DC28-F1A1-0170-3601C90910F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ABDEEF7E-61CF-6BC2-4088-18A23BBDDC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1C500DE9-3230-0E0E-E6B3-31E7FAD74C9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FA868482-FAB7-3995-FB80-7FC2A2848214}"/>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3C6A07CF-02DC-FDB9-D293-9CEC6B06C24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E9058679-FA19-C045-A11F-D2D747DA2A7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D3F402BB-108A-9A6F-8731-321047ACF72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A0F63572-D062-8545-587D-935A1EE4C70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7ED4A4DC-1A1A-CE45-BFB9-7474D593517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132A1CC9-51A7-A853-7746-22AB279B34A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6DF8E8EB-2946-6727-7173-ACCF7B22E25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A47BE5C2-68B6-099C-299D-D2667D82ED9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EE5F5B2F-09BB-E6A9-4E7D-AC849135420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B728DB80-0F12-8777-B2F0-2202D53C3C1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32" name="Oval 231">
            <a:extLst>
              <a:ext uri="{FF2B5EF4-FFF2-40B4-BE49-F238E27FC236}">
                <a16:creationId xmlns:a16="http://schemas.microsoft.com/office/drawing/2014/main" id="{43BE36B6-FF90-B2E5-8B1E-0584FE57EB1A}"/>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B2A739A4-6B90-A8C6-8B7B-FED4586F7028}"/>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8EE0BE72-905A-D68C-9E05-7643F136A15A}"/>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FD721284-8619-D757-2BEF-48046DC0DCAB}"/>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CAAC427B-1871-2290-2F76-3E5FC125DCDA}"/>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E02F3044-001E-4538-F552-5C7FBC922BB7}"/>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5F04F57E-5927-74A4-DE39-2D563323A6F3}"/>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C38A7419-2C52-0A24-52D6-E5D2DCBAC81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1132D9EC-1332-F0C3-D383-59A031290C6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F1CEEB58-4AB3-9FD6-37CC-922ED20D1D9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8A28AAC4-08DB-7B9D-F9B0-8BF5B623D4D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718DB58A-25FE-FC0A-F24A-24F03B07BBF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6BC86865-1699-435A-F681-2AC857E20CD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0CF8D3FC-6212-5D38-64A2-C382B72B21A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A4C6DD01-C50D-B030-EDE4-0D03026D30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5B208546-BBBB-A0FC-EF43-F971E25E766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A5C5A57B-AF2A-5E24-0C74-27E33936C90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D4F36A96-7081-129B-B35C-C1634E85EDF1}"/>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6A06F031-E867-9965-CD12-9128D2673AC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2041B918-630F-C32C-892C-5B99B6F5129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64354361-D035-871D-5BD5-1225A2193FD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A04D82ED-D372-CE64-7CE4-994A92CD9DD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A610DDF4-90FD-41C5-DEA4-B84E7D52EC5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9268B629-241C-A59C-9BE6-711C513790C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0600EF52-B003-A3DD-DF36-A6F08F22622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C8FEA310-9EB9-0612-7142-0E1E12AC26A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4F9F7C6D-8022-10CC-5117-C2EE17ED5C0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5D6935D1-9E61-668C-D32A-C1E3766C9DD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B20F31FA-0472-09BE-7279-88CA1719056E}"/>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58233D86-E526-9050-A69D-C031C210FBC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2051FA76-F1FD-B43C-3B72-90FEE983950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8FB7FC35-4596-BC42-1F6A-8E45CF878C7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813D4C79-F6D2-10BE-717A-3E9339CFE7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76C33657-88F2-87C2-B444-42B4DD00A2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E0187976-12B1-302D-C08C-2BDECE860FC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F0C8A601-2746-3EEE-6096-805E83FD935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19E876FC-9914-7D4B-431A-A7F6076E872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AEED3309-00E7-C6A2-D7A3-AC2B09033FC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968D20C8-9624-7606-8014-97735661517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61337030-68E1-685B-BC20-3C510EE5FAC5}"/>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FE32E209-84A4-C16F-B5A9-7136766D725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D4341905-CFC4-F065-F6AA-AD635CF3429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B987D3EB-D6CC-9A97-0595-1D5F4B45A2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088862E8-50CE-A0F2-4A4A-944B4CE9BF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A4FD6B41-F172-EDF3-D06A-C5E24376CE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4CE5460A-8CC7-201E-F7DF-0CEFFD9534F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E818FA91-1C5A-E528-E56C-88C6CC4B9C9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ED90311D-D206-3E13-B52B-7EBC3DB8DC9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79786D46-6D6F-2C92-174A-692523BC807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3055EC2A-1F05-140C-3D6E-D85969BECB8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A4E73339-E6ED-A7F8-9786-3AC61AFADBA4}"/>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95A9BA27-801B-77E4-CA25-3E61AC90545A}"/>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A78D1B89-AC76-6AD6-0CBB-91AE347213F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55AC4E8C-FAA4-D92A-102F-C229C7033D8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B9AB95C6-099F-2E77-562C-7CAA927E51E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BB4F11FC-9617-782C-AB9E-0E2E4C9905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9401B9CC-A57C-3375-C8B0-28C09B82A4A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47CF5EBB-9474-612A-ECDF-5C22B338248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B5288808-E6F6-DAA6-A2D8-9083BE44F84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DA78D702-BCD4-071C-6646-F0EAA4C8030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2A5A3F2B-B1DF-C922-764F-5998F4407C7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EC84CB50-E0A1-8F5D-6D2D-92A15321829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520DEC66-A552-43DA-8C96-B78508083827}"/>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2CE77CD6-C761-AD28-1307-D9A23EBF4D7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F459B948-D9D4-874E-F6BF-DA50199992D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AE82E9A1-CCB2-07FD-4717-14635FC96B8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3632739D-DFA7-D4A2-1D31-E23F4E774D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879C0711-32C9-0619-58B5-F74EF8C7B4E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5B35009B-916B-F13D-3877-5DBB7D04D8F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A82903A3-6FF7-1D75-DC75-6038405121E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BE986FB9-AA7F-CE95-5E5E-94755915402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0278568B-3915-11A9-2CE3-8203D7F35DC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355EE474-CF7C-99A3-3540-DC97E516DBA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26C2941E-3723-7426-D906-FD72A5F41991}"/>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947BB5AA-A59D-ECEC-5169-55E90C47B6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726BB299-934D-4E99-0C76-83131297DD3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A729B5FA-B98B-0989-C68F-320C8EC66FE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F99AA8EC-5094-8470-706D-EB26DC7E6BA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A2D05EEB-C17F-7657-58C3-8B8CD8E94A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1A5ECC60-D843-ED6E-8F85-4CE22B05D65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A50B2916-CB7A-A781-8C95-CDD71A0E576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162AB52C-EF2C-09B4-28B8-93C2AE1EF6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F203168F-0240-FDCC-E96E-AA0BFEEC5C7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1F80D551-A5A7-1BF8-91E9-DA8208561CD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D41EA9C6-7DEC-9D1B-E7D3-332283A5FF70}"/>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54B66633-BC47-21B6-3097-46CA69F573C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5E280993-D049-F748-4A04-5255933052F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E66E7DF5-ECDE-5367-735D-D6695EC0F41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73956786-2977-6B12-36D6-E2D931E64CA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99F317D8-0F20-C0A9-F436-A21A6F9B6C5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5FA6FF00-9F60-9D45-3F17-8469FC3E994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88D6B565-56BF-DB02-7322-5A274251F8C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DFA3B950-602A-6D91-473F-A7BDCD02BD3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E0933C2D-F2B6-E78A-BB1F-2CAED8C534D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E27AE065-D2CC-8A4F-19FB-AE2C209B969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9215A89B-DB47-78A4-6196-DA3F3CEB9A17}"/>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44A48FED-58C4-21DD-562C-D407EEE18E07}"/>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BF20F9F6-DCA1-78FB-86C6-A14FCB3D65D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6B233507-8569-C5D5-4071-C23162FC650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DF7505F1-5BD3-088E-42A0-DE2C6676CDE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7261B60D-9B38-011C-298F-6DB413A20EB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8AA396FC-292A-D1C2-4CEB-EF696E50CFB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504D6E01-E215-A1C8-5C42-A0F9864D257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D47CA382-E4BE-DA9A-9222-52C80E9DA4B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EE07AF72-1810-D6E7-16FB-87E2D7D803A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AAF01ED1-1BF2-1141-5B7D-A362E86421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BE4EC084-E45C-729D-ED2D-A8675C707D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4F81C405-E69B-D554-40EF-C0A333C06F30}"/>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39003732-A414-8375-59EA-1642BB66919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FD990053-6C70-5065-07F9-210BCC6A7D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19B203BA-1980-8853-7166-1BD0DE8FED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68C3AB16-D597-3718-182C-EA8380CEAA5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9C3E61A9-A332-B287-5705-5D328171CE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5B6B356F-3236-A3C4-1781-98488119E2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5B45DDA5-1B37-37E9-823D-189AE77654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2714B9EB-F8A8-701E-20FC-EE4C7070E5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1070E425-6CF6-3E1A-6BC5-D61E2CC854B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5CB99EA9-07C4-9069-C940-08835D8B24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C5734E51-092D-ED96-A99C-BD5D44A578EE}"/>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2F0432BE-29DD-484A-B773-EED721E6CA2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64AB5BAD-9E3B-4247-C4A2-7300E98A5AD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6189C9BA-A1D0-D6E2-5575-C3760D0DEAA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B0612749-42E7-3DBC-EF29-D10825F6FC6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F494CE4C-A717-B02B-5249-D1B7AA1A05E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6668B871-7CFA-C9F8-5951-BB73F77456A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EC276C89-6F21-BF09-E36D-AECF0BA641F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07856B51-92CB-3E63-F996-D300AF67076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616F6F62-0E6D-4273-BFDB-B7F9F2BE358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AC501DF8-3586-3EF7-1E8C-0C52448C1E9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BE998B8F-7A81-85FE-7D4B-25702A4859A5}"/>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52828540-0E10-B810-130C-3A12FBFD2F4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B6281C44-06DB-9A7C-FB13-A610E9D3D4C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ABE106A6-3027-9EFC-4DAE-389A7C9A128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0CD2A39B-A283-D39C-CB28-B3011E4F91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6F05BCDC-1F98-D200-4919-1B5F8EDE97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57A5DE4A-7968-FF82-0040-8AB7505D556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E701BA33-418C-779E-1AF8-0F8AD279BE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45336CB8-5D6E-D492-89AB-341A958A08D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B8E13210-75A7-1672-6D0D-E66C124EAB6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107E03FA-2726-F385-407C-9F31F75D37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4" name="Rectangle 223">
            <a:extLst>
              <a:ext uri="{FF2B5EF4-FFF2-40B4-BE49-F238E27FC236}">
                <a16:creationId xmlns:a16="http://schemas.microsoft.com/office/drawing/2014/main" id="{64A1BE1C-9E5C-901F-0600-1766F21476D6}"/>
              </a:ext>
            </a:extLst>
          </p:cNvPr>
          <p:cNvSpPr/>
          <p:nvPr/>
        </p:nvSpPr>
        <p:spPr>
          <a:xfrm>
            <a:off x="745815" y="402989"/>
            <a:ext cx="5938421"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R SOURCE CODE:</a:t>
            </a:r>
          </a:p>
        </p:txBody>
      </p:sp>
      <p:pic>
        <p:nvPicPr>
          <p:cNvPr id="225" name="Picture 224">
            <a:extLst>
              <a:ext uri="{FF2B5EF4-FFF2-40B4-BE49-F238E27FC236}">
                <a16:creationId xmlns:a16="http://schemas.microsoft.com/office/drawing/2014/main" id="{E4490F5B-6FB0-6425-9B23-A153464303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0425" y="1418215"/>
            <a:ext cx="7885280" cy="3703192"/>
          </a:xfrm>
          <a:prstGeom prst="rect">
            <a:avLst/>
          </a:prstGeom>
        </p:spPr>
      </p:pic>
      <p:sp>
        <p:nvSpPr>
          <p:cNvPr id="230" name="Rectangle: Rounded Corners 229">
            <a:hlinkClick r:id="rId9" action="ppaction://hlinkfile" highlightClick="1"/>
            <a:extLst>
              <a:ext uri="{FF2B5EF4-FFF2-40B4-BE49-F238E27FC236}">
                <a16:creationId xmlns:a16="http://schemas.microsoft.com/office/drawing/2014/main" id="{9C1B7FC3-C269-E0E9-5D0A-CD316AC97726}"/>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spTree>
    <p:extLst>
      <p:ext uri="{BB962C8B-B14F-4D97-AF65-F5344CB8AC3E}">
        <p14:creationId xmlns:p14="http://schemas.microsoft.com/office/powerpoint/2010/main" val="352439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B79BE-A959-2DEC-E2F1-6E33E83A78AE}"/>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F449A214-B9FF-22E6-7762-FB8426B918C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27428624-D8A9-8897-EC1E-53F5A1ACB293}"/>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112316F1-355D-9A58-8748-95EC3723EBE2}"/>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8BE46839-9190-2EEF-3144-551760D0F2C5}"/>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FDCBD22-EB32-7B44-3FBE-B70D89B9B9AA}"/>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0C313D42-166F-9B52-44ED-A67A6C5FEE38}"/>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22F99D85-F85F-EDE4-9592-4C1480BA8A59}"/>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5465AC8C-9128-E351-CD26-9A63568EE7CE}"/>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1D5DFA8F-0AC9-CFEE-0CAD-F2FD28652F7F}"/>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897F24-076D-E104-44A8-92E0E156D285}"/>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A110E925-B4D9-9FAF-8811-7100E23E62F8}"/>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9</a:t>
            </a:r>
          </a:p>
        </p:txBody>
      </p:sp>
      <p:grpSp>
        <p:nvGrpSpPr>
          <p:cNvPr id="170" name="Group 169">
            <a:extLst>
              <a:ext uri="{FF2B5EF4-FFF2-40B4-BE49-F238E27FC236}">
                <a16:creationId xmlns:a16="http://schemas.microsoft.com/office/drawing/2014/main" id="{30D63CC4-7174-8CFB-A50D-D67773F87E08}"/>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0FC125C4-A858-16CD-F5AF-C5655DD99D7E}"/>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6719811F-4408-3B85-71F7-7F17C78143B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47363AA5-17C4-9F14-52A9-4B05FF395CC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BEC0713A-C6A8-208B-88DF-C8E7F9ADAF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0EB1559B-1F43-7148-18F1-7D51CB46C15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0A2E72CE-9F2A-BB77-33EF-A5AFFCD284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9EDA67EB-D31A-B9EB-9693-D10BA2F10E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193F6AE3-55DC-7C7D-E8F2-0608F1D8E40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24AC8223-6BF9-9A35-6ED6-30FAB9B2E52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7C00C03E-5727-235C-E0EC-3FF032C1F5D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473F449F-030C-A617-1593-0863430FAA3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7BBB6345-B998-271C-C6AB-CAA818EE3BF4}"/>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46DB1D21-FCFF-BBE5-3A93-3293BD89B70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FD01C2D9-FABD-9EBE-1A42-22017651F92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DEB8BEC3-8D56-6573-E116-7CEB37D990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0BBC2184-B096-56E6-EAEE-45431EA922A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22C1DFEA-9737-E19A-32C7-7E0DF168438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A4EC1C2C-7F8C-8E86-A08B-E7E58493A66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43A24AF3-083E-1BD2-8914-3B7694C52EF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4ADFB4A1-14C5-F088-945B-90CB75E8F1B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62A15EFD-1981-DB08-09AE-905F4235CE1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1BF6E72E-FFCD-76FC-87C4-97209B9EE80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AF2870AE-A6C3-F122-ECA5-37C8274972DD}"/>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8603D191-C93F-AF63-4133-3639168CA1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9850F05F-6497-C0E5-4998-94306C5E8E5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3978EB9F-0E5B-4CC7-E8D0-066CFF694E4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1471B4D9-EAA6-9335-D50B-44D09EEC6F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7BD825D2-6395-3173-C9A0-7341EE146C2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F0C362A2-B58C-269E-C7BB-6D87CEF78B9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ED333EA5-035F-1DD3-BE3E-40092A61F8B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4E13368D-7365-D01F-94E0-02B13A694AF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D1D6F723-B0E3-EE48-20B8-5A15FBB7147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2EA0FE03-B3BD-28A6-1DC1-A4B9228E1B9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EF39B8E6-DE27-8DC1-452F-EFF8064F6970}"/>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3FC02633-A249-167D-0A0A-F627A94A0C0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4F9C3A1A-00D9-226B-5603-792C035F045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2DE874A9-AE0A-1515-DF1C-1F6BAF51C5F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978E23A6-3EA1-B75B-FBAD-F9291B95AEF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BF67394F-0F02-74AE-4CA6-1728CBE7E0E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FAB0EDB5-1AC8-D0E4-F0DE-A1D6E534367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A944F36E-6D1F-DA6F-C9B7-1205AF6103C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B9C3AB11-0B67-BC92-2185-6451CBBC339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31E4F752-1A20-A527-7F57-BA22C6A2E71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9E369D59-D67A-C6E9-827E-30E2E7C1417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9D25DA87-F22B-F869-8B58-345E526B29FF}"/>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BD91B2ED-8074-4B61-116F-1930F3C43876}"/>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67007A45-B8D8-9A90-D651-02EF41BFB51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36B48F20-038B-3061-8AB2-C7DC4C513F6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12A048FD-E7AC-3AFF-8EA1-1BA413FDA5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3F7D5970-9E35-B908-C352-B7342362019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4D667F5B-C758-4AB9-70AE-AC59019D2E1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13EC79C8-E71A-A5A6-0C0B-21C05F8AE59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A197AB1F-E0CB-707D-DECD-B8B21C8D6D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E9545398-4A6C-39CF-82CE-0FF28341382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F46755AB-E4EB-6D9C-DA84-6F1F17B576C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0BBD7E97-B053-D18B-98FB-B5EDCBB0F0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82B73848-246E-E298-E3DF-BB694EF264E5}"/>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AFF2CDEB-6418-1E0F-FF93-DF2E326D232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6B691BAD-2C01-BC2A-96CF-68E20B19489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71CB9DE3-C993-7294-7F83-B26CC09CD9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6648BF5C-72F3-E490-E910-3635A3BEB98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B06A3C61-0377-8F07-E72E-2A15F64DDE0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B86C1E10-AE27-72A3-D693-54D779AE72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D84E4E56-2297-76A8-AF85-E066FE0058B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CBD89CE5-93A4-2C0F-A7BB-897D7806435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45B03C2B-A1C6-5D19-04AB-48B26DE26FF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DFD02059-8F39-8C1B-1205-76772E72359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16D6D9BD-1163-A1F5-E7D5-B1BCF0B8A0AF}"/>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41188015-F5B6-1F2D-6442-430A803F653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83A1FE57-1A17-FE5D-BE02-CF17D26E0B7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0AE10D29-9521-AB5D-6817-1C71682B179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787EBF37-CB32-4A94-3C04-2DF4800FDC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37C2AB96-2070-19D3-AE90-56FF53F6EE3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A91DB9C6-C601-2496-C002-B12A6BA66E2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5C8B3B31-2D7E-7073-F855-42455228EBA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0EF35D79-5923-3336-5E3B-EDF791A0C90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1969B886-2DDD-B313-9C04-D4737C1DEAB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766BC96B-2AFC-C889-7856-AA1FE10B2E1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BAB1AF40-BDC5-8436-23C0-F40022D3A8C4}"/>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9AA93B1A-245C-F5D5-36A0-55CD1BF78DF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C89B37CE-AA6B-8F31-BB21-8301C11300B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6C10FEF6-EB65-885C-09F3-FAFBE30EB9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652694B4-1FEF-11C7-FC08-CE501F46BF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636BF08C-5EC7-5B26-8894-2A25A283F00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D926985F-F517-C89E-B59E-CA56C4E6699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C07D9D6C-9734-D602-526C-8F5457E0725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1ED7B673-50DD-C937-6B46-84C01A84D3B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8546227E-4471-F988-9D47-723F7904DC6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8E6BDB67-E4F6-F4B6-9EDA-43EDFFF099C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3513D734-D41F-F1DE-C08C-A0D6E8627421}"/>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34C4728-5A2E-CE93-C4F9-50B0D04C3790}"/>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979E31FB-5C9E-CE0B-7267-12C75ECF679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54E7CDC2-A685-4377-1E44-7B81325A1B6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EE0F6C4E-6F67-6075-6655-0D711250BD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F0DBE0DC-4339-C267-E477-D72018CC568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D69168C1-29F6-E84B-7866-4BDDF4DF04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82E84B8E-BEE9-F742-5598-D669AF0EBF6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6C5B3FF4-8017-E9DE-3F9A-A17C49970B0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2BC36851-919D-8AB8-9E39-32BE324D412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33DC54D5-4745-449D-6D4A-DE8B092F8C9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2BB96AE2-2E33-AB04-1F29-7441BF05775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6244E4D9-236B-C206-2EDD-0535BA553D50}"/>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B350987D-F554-A869-FAFF-B6A9CA001F7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1A7104A1-2443-04FC-C9E9-44D0E73361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8A1982D3-38C3-966D-5B5D-1AA42899818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317B266A-1ED6-2FD3-0650-BBDEDCCA10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4EC763A4-724B-93C7-D1C0-7A07A413059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4A2D38EC-D1FE-7521-A8B3-EA098C3ABC7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95CC8C8B-86FF-881C-0E19-F5D21FE2148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23CF4A2E-8C47-393F-3B95-DB5C5364D43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4637905D-C7CB-EF4C-9619-F6938980507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5E6837CB-986E-25AF-1288-EAD210EFC30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C22662B9-9EBF-BE58-0865-937D80EBBB42}"/>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48B3163F-6525-1732-EF09-4B454BD3FB1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60DC8A57-E9AD-4A19-EAD9-1A66F2BCB2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0C6E473E-DB86-0F0F-2E0C-146BFB97CB4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E43051B3-EEDE-A6F5-4B5B-691FA6E88C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B6EC178A-982D-548F-D4A4-651B54998CA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B039D580-260A-8425-31CE-868EF01D65E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EE2DBB25-8F33-605C-AF60-F2E7B20F096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B67B43B9-5392-772B-8F28-B55F68941C8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E64F16EE-277B-D566-02A5-DAE760BA22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519151E7-75AF-1ABC-1E1E-AB85F6287C4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A07B3AA5-293F-198F-4D25-4F9CF1AB11D3}"/>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8E316C53-D7F0-43ED-C344-444428F2BC2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B6EB75BE-2789-255C-BFDE-82C3A28EA0B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B3CB5447-342A-8BE8-F4B0-698B070E5E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B9B86700-379C-7354-4041-1C24F681E38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D9B1623E-09C3-D99F-3C28-03D6ED923AF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54959696-4A9C-B8D8-74E6-06CB478E71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0AE32445-F6CD-3521-38BC-2059CBA48AA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0AD7079F-F8DC-42FA-1854-AD669850120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264D8252-F61C-765C-6F75-34509D2BF34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66271374-2F14-99BE-1C35-C777C9C8E45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C0E85863-162B-FE80-02C3-63CA2256DF8E}"/>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AF829D22-4951-1F43-D044-55CAE2AA4002}"/>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664F58B1-142D-31A8-B64E-DE6A3712E3E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1938955F-6114-DF2A-C747-502B9EA80A9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FFA36B92-C21C-9A9A-C551-1F25C81B015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6A0F6495-E10E-98B4-065F-B08D3229073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24C6F4F3-5807-8BD4-2AD0-AE01CEBA7AE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717DD87A-BA59-043D-8E84-295271ECBF2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6A3CDDA3-BE89-D26D-871E-020784198CA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E765C20E-0B18-074A-466A-16F7B9CF9D9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E7506290-7F7C-B777-1C90-A4139B85745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E67723F9-FB54-C954-C6A0-B08E9361DF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A03D53FB-5CC3-DB7B-EE3B-8010AF39675E}"/>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2636CD30-790C-7D55-8F1A-10039D8E76D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AC4B06FE-4484-9478-3729-2495CBC0615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7894108E-B056-4229-8F15-A2C9A470F3F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19AC048D-364D-DCB6-5935-BE6D023BF4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415A87E9-18E0-2892-CFEB-D658AE85499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6B1D4C03-70BC-9527-F5FF-0D2F66FD42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AD9925EE-2C93-B8D1-24C3-6605D4FA81B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A5080764-6E91-F0F8-F11C-6670D577353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DF33BE9B-AFE7-1CA5-2390-9E798C0819D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99A5FCC4-7FC4-D726-ADFF-4EBC2521B91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EFD0E2FD-D350-2F8E-163C-4642C6ADBD45}"/>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787B0E3A-76C1-A590-52A6-E615D5E3C51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DB04A1BF-943E-3AA8-67B5-FCC58CE0DA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67F59F92-C8AE-1D3D-DE8E-D2D0FB2B707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E61F6C89-83B7-D18F-5224-4A3301BB6C0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2C8F0255-DE4A-3BBF-4C32-B0CC377EE30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792BCC15-232F-43F4-7CF4-1A1EBBFEA2D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4CDF6EBC-4ECF-C218-D873-C6A4A37C914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3EFCFDB9-C5F4-61CB-41C2-99D4BC165AB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65C63D52-F780-AAAD-B1A1-287CEDB29C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EC7ECF19-3186-E800-1051-B49B9E4A319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5C97530D-C222-931D-0FDF-F9298BDF9189}"/>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C629CD05-C02E-6459-B011-28D00E3B595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4EC3EC40-519F-A54B-575A-7B58E334A5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8E0ABAE3-5FF3-03C7-D6BB-9F66A1CBC06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389B476D-11A5-EF45-C3AC-7EF49D33C47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848EAFBA-36A3-304D-DB8C-E5873850446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35751DF6-E9AA-22EB-59DB-3E46037C9F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4808A076-D8AE-4530-9385-39030F5C876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70B7D32B-D122-67E3-D532-1C25B20B74C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86006A5D-2A41-428A-DC45-16BB52F8304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F678CD4A-9246-4B50-9664-39358A6F3F1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259F1E57-BEAE-940C-4BC2-141CDF36E062}"/>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1215AA79-024B-35A9-6D6D-BA8395AA7BE3}"/>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19FE436B-61D4-EBC9-9BC1-1115BFB5F12E}"/>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F7A7A783-A387-3186-1F85-22765D5100CE}"/>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0C47E5D9-3801-882A-1BFC-DFA738A1C438}"/>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39BC759D-3459-07F5-AFED-44258CA80D2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C566E472-7DE3-933E-8F6A-DC7E5CEBAD9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793346A7-6DF3-B0CF-5072-335AE513D0E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C49EFAB6-4BF7-B16F-CAD5-4E638F4F4C1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9145B37C-0B2D-5DA4-F79E-EE962942B8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1AAC96BF-E935-DA33-8C47-2F827E6051E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606E06D3-1FFA-9568-9F93-3307BAAFA87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AD7685A3-A9B9-5C48-43BF-22113BC906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FA0DED63-1543-6A4A-D575-BDB5A44D301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E2F55761-5599-4C77-36BF-CE8857783B6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22855457-C320-15D4-9C48-EAFC09D5E1AF}"/>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60EBAB76-4B0B-A0EF-CA7D-3154AD9B4D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528917C0-58BE-CFB0-2ADE-811F6464F06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4CF75D64-8EF6-352B-C9D9-044B462E33F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DD965E7B-7EF9-05D9-1AE0-0D8004E2A44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9CAB03F6-6F56-6120-5CF7-9D77A176ED9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3438DB17-8D6C-FF97-CBFA-1E05799332F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C8EA491A-4AF7-D6EA-5E21-5A7862572DA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B93D6A77-5BC6-C480-949F-E0A560EB0E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ADF7F9FE-047C-C90B-D731-44CED08EE78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B11DBE8A-79A1-2547-03EA-82120CC30B6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7E9F2A6E-577A-9083-7C86-9EDE1661D92F}"/>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4B03CAEC-696F-F6A7-5DD2-D37A7DEDC6E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25E6A8BA-D381-7783-574B-50A207BC2B1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A32244B2-2669-A7A8-CEBC-72EEB9EEF35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27F11234-97FC-8030-DA51-006AE923729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DE4519BC-F4C8-291A-85F1-D496F835F1E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DE87F8A3-33FD-0E0D-6B26-8C9E0F6ACFF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95298398-4DD0-BEEE-7B69-198F86023EC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B0235E0E-A257-4E1F-C5B7-2C0D699EEA7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9A5AE2B8-A997-8BFC-EC69-F0FF33554A5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0AE37198-6691-B26E-CDEA-2C543B0159F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BA00824A-40FE-9556-C85A-95CF2D608075}"/>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CED0CE8B-4DDE-0D43-2B4B-830C351086F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13B037E4-1BCE-016A-74EA-0A72F529A2E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361DF733-0B7F-C1ED-B4E7-37FE0394E51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D8E40A4A-BB59-2A9B-F2BC-79F983F344E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B756575D-814F-88D5-F892-0FE9F01EC09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CD283FA5-AB4A-B62C-6F03-B3B086A8B32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E5436ACA-BF0B-DD05-9992-C3535CD0CD0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94DF2D23-DB2C-738B-6519-BF07327C731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0DC7344B-51F2-D6D4-0714-9D18EA0DD55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F3E81566-AA5C-40A5-4819-3467A2EDD8F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extBox 1">
            <a:extLst>
              <a:ext uri="{FF2B5EF4-FFF2-40B4-BE49-F238E27FC236}">
                <a16:creationId xmlns:a16="http://schemas.microsoft.com/office/drawing/2014/main" id="{7C3D4139-338C-1677-635E-EECBD3AD12E2}"/>
              </a:ext>
            </a:extLst>
          </p:cNvPr>
          <p:cNvSpPr txBox="1"/>
          <p:nvPr/>
        </p:nvSpPr>
        <p:spPr>
          <a:xfrm>
            <a:off x="4139224" y="4867983"/>
            <a:ext cx="8817134" cy="1569660"/>
          </a:xfrm>
          <a:prstGeom prst="rect">
            <a:avLst/>
          </a:prstGeom>
          <a:noFill/>
        </p:spPr>
        <p:txBody>
          <a:bodyPr wrap="square">
            <a:spAutoFit/>
          </a:bodyPr>
          <a:lstStyle/>
          <a:p>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Implementation Using Python for Markov Model</a:t>
            </a:r>
          </a:p>
        </p:txBody>
      </p:sp>
    </p:spTree>
    <p:extLst>
      <p:ext uri="{BB962C8B-B14F-4D97-AF65-F5344CB8AC3E}">
        <p14:creationId xmlns:p14="http://schemas.microsoft.com/office/powerpoint/2010/main" val="46187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34929-986D-0ED8-1E9B-31148815AD77}"/>
            </a:ext>
          </a:extLst>
        </p:cNvPr>
        <p:cNvGrpSpPr/>
        <p:nvPr/>
      </p:nvGrpSpPr>
      <p:grpSpPr>
        <a:xfrm>
          <a:off x="0" y="0"/>
          <a:ext cx="0" cy="0"/>
          <a:chOff x="0" y="0"/>
          <a:chExt cx="0" cy="0"/>
        </a:xfrm>
      </p:grpSpPr>
      <p:pic>
        <p:nvPicPr>
          <p:cNvPr id="225" name="Picture 224">
            <a:extLst>
              <a:ext uri="{FF2B5EF4-FFF2-40B4-BE49-F238E27FC236}">
                <a16:creationId xmlns:a16="http://schemas.microsoft.com/office/drawing/2014/main" id="{79AC2416-1422-4F74-5222-4F218F07FB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 y="-39226"/>
            <a:ext cx="12230713" cy="6926138"/>
          </a:xfrm>
          <a:prstGeom prst="rect">
            <a:avLst/>
          </a:prstGeom>
        </p:spPr>
      </p:pic>
      <p:graphicFrame>
        <p:nvGraphicFramePr>
          <p:cNvPr id="104" name="Object 103" hidden="1">
            <a:extLst>
              <a:ext uri="{FF2B5EF4-FFF2-40B4-BE49-F238E27FC236}">
                <a16:creationId xmlns:a16="http://schemas.microsoft.com/office/drawing/2014/main" id="{7276F19A-8CB4-4E19-881A-F5A5F618D70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8A8B322B-FAB5-9F6B-AC5B-51A73A8D458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E5FCBD6-1A28-E83F-80C7-57960F2EEE93}"/>
              </a:ext>
            </a:extLst>
          </p:cNvPr>
          <p:cNvSpPr/>
          <p:nvPr/>
        </p:nvSpPr>
        <p:spPr>
          <a:xfrm>
            <a:off x="-7336" y="-12827"/>
            <a:ext cx="12199336"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D86C670C-57C0-E8E1-FAA5-6DA4CE940942}"/>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B2DE4742-8E54-2704-A259-B37268DDF16B}"/>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81F13C0A-1AAA-6F66-6FD9-CAC771833D72}"/>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a:extLst>
              <a:ext uri="{FF2B5EF4-FFF2-40B4-BE49-F238E27FC236}">
                <a16:creationId xmlns:a16="http://schemas.microsoft.com/office/drawing/2014/main" id="{88CA3BA9-6083-EBE8-1F1C-93EE9FEDCAD1}"/>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4EA327F1-8A00-2BD7-5B48-D533403485FC}"/>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2A9A26AD-2044-CFDE-884E-DC9BA305A849}"/>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BB0C6335-2FB7-A370-39FA-9DEEAEA02DB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8EE20FE5-D284-8F51-9295-8753236C075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871B61A7-3630-3AD9-C54E-ADA30D50D58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76637E6E-D139-9CD0-526F-D7609F07559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C4851713-EB0C-8B5B-195E-172BE0BB80C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7E77CD1C-8386-50B5-8D4F-7577166A177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7A697741-AADF-A83F-19E6-A0EA6162817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0E8FF4A0-9074-E9E8-B286-FC8D3179B43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E42498AB-4314-DFCA-E546-3FFBB96D47A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D01C602B-A02B-7CA1-506F-383CFBCB63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A79FCDE5-6929-F40A-A71E-FD7D226AAE87}"/>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06003093-7946-2CB5-8A98-A60FC30507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B670F936-4CC5-973A-8C32-2F760858107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A92EA54D-8F3C-5B6D-E4CE-C5B034128BA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F79BBD11-E080-E028-7DC3-74CD80E9832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A1A9D2C2-922C-9AFC-AAB0-A291F4BC693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857D4FBC-4DDB-301C-CF74-2721F95038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5D400B5A-9923-3D02-666F-5867E267EC6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25CC0659-8701-76AA-7858-32F9B42A730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F3DAF5D5-1C79-2477-3538-839E2E22BC3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0106F78E-50E6-7471-ED8D-E05298D32D6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C9249B19-B5DA-A680-F992-8CA048E554CF}"/>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93B01B3A-34D6-2DF2-D980-4A4262E1DDA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4E97C15E-C72B-D02D-3C02-D794D5165B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E804339-819C-3374-FD29-4E33477BEF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F791A988-DED3-FDBD-8590-F99C5C9697B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327C7BF1-F600-363A-76FC-C813F86AD3B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C2786B53-1FCD-D7F8-3CC6-1380DF8581E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F725F46D-EAC1-B556-3FA6-8CBA804D41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BDD25C2C-7B15-FBFB-0C1E-5F4483EF252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CB009BC5-E3B2-CC2A-54C0-D26D76D43FD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2CD327CE-CD6B-1C94-4070-31274C4553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A9016809-C721-8DBD-A704-B293924B0FEE}"/>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C2A1E77E-513E-D336-CC79-F9916A20DC8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9E3120FB-0DE3-B465-EFD8-767E810FD98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E1BCC723-6D0E-89E0-0DD6-78245593340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9E7A8182-C268-4C03-80D7-FCE8A689E2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C5ED9EB2-C186-FFBC-24E2-4D984E8B9D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F2EF6E43-9140-5F92-77BD-6F475F90643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1A15C8F1-0214-91BF-BAC9-789B5E83B3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4F90E23C-D1AD-E352-4816-8BF7E43B69F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B85645D9-922C-92FB-CE79-2909AF3B59C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EB71CE27-F804-A319-3167-DEAF3832372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6" name="Oval 225">
            <a:hlinkClick r:id="rId8" action="ppaction://hlinksldjump"/>
            <a:extLst>
              <a:ext uri="{FF2B5EF4-FFF2-40B4-BE49-F238E27FC236}">
                <a16:creationId xmlns:a16="http://schemas.microsoft.com/office/drawing/2014/main" id="{0872ED46-C25F-36A7-DE58-898A4D30278B}"/>
              </a:ext>
            </a:extLst>
          </p:cNvPr>
          <p:cNvSpPr/>
          <p:nvPr/>
        </p:nvSpPr>
        <p:spPr>
          <a:xfrm flipH="1">
            <a:off x="1701601" y="5555621"/>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15F14431-521C-5426-0C6A-BACAF890AE4C}"/>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539A2C30-AA85-0745-E541-D207EDF208A0}"/>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E03FC503-92E7-3EE4-C506-3C5F2E568FF4}"/>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5575B2DD-49C3-6BA1-137F-BEB44AA7819B}"/>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5D4A98BC-021E-1AB3-ED25-A7A829A492AA}"/>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18BB2B9C-EAF0-31FA-7BFE-F4A14A337B99}"/>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1087FD29-9BC5-E3DA-CAD9-A13B8187700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01902DFD-7CB4-46E4-8344-CCBD02B55F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8C4BED55-53A3-C7A3-B63A-4BFC3027F66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7813392D-DC70-1931-2CCD-68CCB39846B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EDB751B9-43BF-73AA-BEA5-EF51741F50B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66B64BB7-7253-CEF8-BCAA-82D7DEA8D4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7F2574F2-F459-BCF0-62E3-65F8ADB53CC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F3534F89-921F-F9B8-CBC2-0EC318C1F3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AA5B4F7C-A474-1323-AB7C-960E080F538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8C063DDB-9340-770D-5C16-E7B244B127C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2C01241F-2322-0778-9431-39A48BEE1F82}"/>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94979536-61C6-71CB-ACE2-5D7C93669B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D03850EF-6546-A7D8-F19B-BE2D6EFC893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CF9E1CBE-F771-2435-64A3-B10461DC5C3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D46DE074-F59C-21EC-AC01-C91359D0B3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EDC41FB2-1D1A-7117-B387-5D4493D0496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7CF8056B-93C0-84B6-75A7-F1A5DD9CB14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767DA355-2941-246A-9A3F-D761E22DEED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600DD979-3849-29AA-AA85-46D654DB326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01936D2C-445F-6968-D329-76DFD821EE3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259B0637-2B9B-EDDD-B205-01ADEB1A5AF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3CDC2AE8-DCB1-0EFF-AC72-0FDF9004CDD5}"/>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DEEA588A-F6AF-5C78-05D2-834654156AD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97DFFD94-2F4A-8DD6-47CF-E3A341A5F46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A7DDDD11-6219-EB46-E242-11398C121C3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0E553B58-4174-31D1-9D4D-5E0EC70B1B5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91507846-1C71-06A7-9A8B-CBE3EAB75B5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7C7270A1-D9B7-074C-8FBA-D1050B5FAA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7D5EB23E-4FC6-E64F-6E7E-13D7399320B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CF3BFD7A-61CC-1F7E-F019-24A69B37F4F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6E70D21F-21F0-0A88-4CA4-65F04A94CE9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8BD72F3B-1B3E-203F-8FEB-0507E93F22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453A258D-8163-53D5-F25D-8C440A1A4ACB}"/>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A94C91DF-D323-E869-4448-554C537EB6E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C4A10DC8-6472-ACE7-DECA-21212032B8D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6C82FEF0-55F8-EB1E-CB75-39347150A0F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861F53E7-34F6-26DD-008B-AA05CB311C5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1D2F9AAA-7EA0-4CA4-1B46-7C97ADEA017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4B87717-E852-B023-98BC-9CB41A0DAA9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239F1749-56BE-33D1-C253-A58D8CB9FF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666D6860-2447-34A7-D521-E81BD1BEB3D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E2F97291-3508-0FD2-F4FD-21A9AF4B428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57ECB664-A3C2-08F7-B2C4-4BCBBF5117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E127157D-2DD0-2026-7780-EFD0B65EF650}"/>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2A4EB8D0-0715-D436-00B5-4CF6FE327C69}"/>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B8226208-E6F3-633E-BE66-BB159D6215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6A581E87-6CF9-9AE9-4909-EB7604450FB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A1240FBC-92F9-2466-5441-22948BC999A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2888C099-8F12-4126-BC7D-71D703C6C2D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7BB45CE1-6DCE-566E-EA43-64686A4E7B9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055C9D67-DC14-3E90-365B-F04777FF974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8CC8315C-E5D4-F95A-F0A6-AAA2E5FD3CC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A782EE7C-94CF-4835-5A58-B39B6AE7FAF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148938E7-B30A-14B3-0F63-CA095B8B111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0B196B45-ACAD-43BE-0550-7205D86854A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F3E699F3-B8FA-3EC9-B7CD-345FA1FF6909}"/>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E482EA34-A7DC-6B0B-DF80-50D69487794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71F3CE10-3164-2CC7-3A63-E27A5601BA6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0DFE23B8-FBC0-D980-BA81-F999A992C8C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3B87606C-F154-4973-910A-9A19094335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52E53162-DDAE-E661-D201-AB653062984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97C2278C-E29D-1E13-1749-26E8F616910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CB810466-6999-A329-16F0-7DEF722EDCB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E964B123-8D8B-4B01-0DB8-916887C0FDB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23393B6B-1411-8E99-8506-44C0403E798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352ABCD0-B5BE-3660-691D-3FCA0A89235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BB163206-C8F2-0726-B2D6-20D24263CE7D}"/>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17E88655-4BCA-087C-8B97-0B838AFAD48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CCCAE4E9-CC29-87E8-8E5A-8871876B02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01F56C48-3FB4-FD45-F792-BD152DA520B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86FC34A6-63FC-53B8-1514-EE317F7018D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26368EF2-E096-5DFE-2718-D86A72266AC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0DB47B80-965E-0F6E-4A4C-06E1B77860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30656F11-FC60-33DE-3429-879DBA52767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3C3DE475-2132-4D90-FBFA-A931A9565D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E9C0CF5B-48D1-EB53-DAA6-86D69FA0AFD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6708EBCD-2B40-AFDB-8A0A-E8E57EE009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3F43B9FF-121A-D18E-A8EA-0EEE3E8A3F95}"/>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66E3A796-56FD-FBA6-CA09-8DED451781B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2BA8908B-6C6A-945E-3F21-185ED9C7AC8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AD0162A6-57D3-A943-E534-0D8E47BE587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1D9DFE31-68D8-E7C0-3D18-684F4F55686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75C7FEF6-FA30-BCF5-1CAE-E33DD236B3E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48B13341-9963-51AE-5C81-F04E8625DA3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A1B2619C-F5E6-A3B6-5231-9C7C6991BF6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633E7C35-A9DF-40BD-5B11-5B450BA23A3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15BA622D-57E9-B28F-AF0C-6CC97E4DC7D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95EBB1FC-9F3C-2697-AECA-C121AA28578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E98015A3-999D-F0A4-9D83-BA6D78D5C0F4}"/>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5C09F8AB-5620-B988-4087-03A2699AA9C5}"/>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E84DD489-55CA-068E-3940-C262B43AF3F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ECD62499-FD7B-F94E-11BB-85C37295698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48A2CB1E-F2C6-83BE-E753-C0AAFBE5C11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30B1E8F9-C2FA-99A8-6084-8AD6E8A0223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7F4C1BD9-7A62-DAD2-64A1-7F06766BFC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78B46E95-535C-BBAF-51B1-E4FF5D66A1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490002DB-ADB6-9559-E8CD-882C8406B72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6C968F79-8234-F7EB-0AC9-9030EC7B742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A3C66065-E010-A6AE-9656-301E33A8814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DCF2A395-2E5F-5FFB-92F0-3720B3413AC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AC9586D4-EFC8-0339-51B5-AD8BCBAAEEB6}"/>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F19B2AA7-891B-EA1B-EB6E-D53117CC417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7A9322A2-AEF9-252F-3480-B580654A544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27F258D3-444E-F674-3DB0-8857F53BFA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53A2F50C-588E-C548-51A7-CA985616370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1E5CA2B1-934F-FB61-7D73-4A272552FF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B4BC381D-C9FD-A3E3-B747-BC5DF84BEB9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99CF693F-391C-A8BF-EFB2-10BD66B4DD3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26B1946B-AFA9-F21E-831E-0AC0C001C9A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37991FCF-22A3-1429-E5B8-E07BC9C1A97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5233F9E2-F73D-629E-3C46-AA29EE70BA0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1FEFFF1C-D364-EBE5-021B-28AE01EFC22E}"/>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AF5F63ED-9DF3-F2D7-361C-23C4B3D2C13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F5631F5E-B2F8-12D3-E0DE-34DCD2F5C8D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ADF948D0-3762-C1E5-A644-2C8EB6AB39B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9D4BFB70-6D4B-40D4-915B-F655D2B7B00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4628F38C-BB55-EDBF-2A46-F59ED890A06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5FD3816C-E062-6DEA-C824-8AB165E11DC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0FB3654F-3690-53C4-C3FF-A31F9F680A9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D9961C88-DCF3-9090-6DED-B88EFB61C3B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4BDB8542-ECB8-C380-4611-8575ABD4B8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CDAA9986-F580-BC4B-FE6C-277668242A9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543E532E-1C1A-7BB7-29C2-1AC1A1CEDFC4}"/>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A2C707CA-975A-C6CE-0D33-02438FB463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B68895E3-6E04-4498-07B4-5FB1A980E54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931FBF5F-80CC-B8B7-A414-03E21BF5A75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38C439C1-ED79-B083-CAA2-DFAE313B3E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9652A6AE-D158-3208-D178-707CF9C77D5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A7D2D79F-ED4E-2804-4363-7D01F270F6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0BDC7C31-FC5E-C27B-C23D-2B75F9E42D8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5490A177-70BC-1B0F-617C-7640BF0154E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8A012AD1-08B8-667A-8B08-1F890877839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7F9DE948-C207-44EF-7B9E-96B8BCB6FF4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24" name="Rectangle 223">
            <a:extLst>
              <a:ext uri="{FF2B5EF4-FFF2-40B4-BE49-F238E27FC236}">
                <a16:creationId xmlns:a16="http://schemas.microsoft.com/office/drawing/2014/main" id="{EDD2795F-4764-0FD3-84C5-AD6CD58B6059}"/>
              </a:ext>
            </a:extLst>
          </p:cNvPr>
          <p:cNvSpPr/>
          <p:nvPr/>
        </p:nvSpPr>
        <p:spPr>
          <a:xfrm>
            <a:off x="731518" y="387829"/>
            <a:ext cx="8709757"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Markov Chain Python Code </a:t>
            </a: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a:t>
            </a:r>
          </a:p>
        </p:txBody>
      </p:sp>
      <p:pic>
        <p:nvPicPr>
          <p:cNvPr id="230" name="Picture 229">
            <a:extLst>
              <a:ext uri="{FF2B5EF4-FFF2-40B4-BE49-F238E27FC236}">
                <a16:creationId xmlns:a16="http://schemas.microsoft.com/office/drawing/2014/main" id="{BEBF1926-B201-E907-941E-62419DDAF21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8695" y="1426744"/>
            <a:ext cx="7828043" cy="3667637"/>
          </a:xfrm>
          <a:prstGeom prst="rect">
            <a:avLst/>
          </a:prstGeom>
        </p:spPr>
      </p:pic>
      <p:sp>
        <p:nvSpPr>
          <p:cNvPr id="231" name="Rectangle: Rounded Corners 230">
            <a:hlinkClick r:id="rId10" action="ppaction://hlinkfile" highlightClick="1"/>
            <a:extLst>
              <a:ext uri="{FF2B5EF4-FFF2-40B4-BE49-F238E27FC236}">
                <a16:creationId xmlns:a16="http://schemas.microsoft.com/office/drawing/2014/main" id="{E29CE7EA-35A0-231B-D068-32878DB238E7}"/>
              </a:ext>
            </a:extLst>
          </p:cNvPr>
          <p:cNvSpPr/>
          <p:nvPr/>
        </p:nvSpPr>
        <p:spPr>
          <a:xfrm>
            <a:off x="9134131" y="1358194"/>
            <a:ext cx="2693354" cy="888655"/>
          </a:xfrm>
          <a:prstGeom prst="roundRect">
            <a:avLst/>
          </a:prstGeom>
          <a:solidFill>
            <a:srgbClr val="168DA5"/>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erlin Sans FB Demi" panose="020E0802020502020306" pitchFamily="34" charset="0"/>
                <a:cs typeface="Aharoni" panose="02010803020104030203" pitchFamily="2" charset="-79"/>
              </a:rPr>
              <a:t>Source Code</a:t>
            </a:r>
          </a:p>
        </p:txBody>
      </p:sp>
    </p:spTree>
    <p:extLst>
      <p:ext uri="{BB962C8B-B14F-4D97-AF65-F5344CB8AC3E}">
        <p14:creationId xmlns:p14="http://schemas.microsoft.com/office/powerpoint/2010/main" val="22965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3C8BE-D982-ADC5-4780-81C100E22FD9}"/>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F0BF3836-C783-31C3-2CF2-312001E71EC7}"/>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0B5200C9-F0FF-EAD9-BF81-A878E7B4A86B}"/>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7FA695F-5C64-4950-A1DF-8CDB6BBB86EC}"/>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E8ADFC6D-2E05-A098-98A3-6C3F220029CB}"/>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CA38CD-72FA-A3C9-F940-A74AFB3D39A2}"/>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0438799C-AF90-7179-8905-6C7ACE315086}"/>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28DC384B-3B8F-1570-C2C9-4157EC08874C}"/>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F4FB160E-8EEF-1753-A73E-B7E25C5DED64}"/>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BD76E241-2B5A-521A-9D4D-C73131AEEEF4}"/>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ED53F8-EB07-1E64-BE1D-42CE9F8BCB1A}"/>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79EACAEF-6C9C-C1AE-FA6E-C24225D30608}"/>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10</a:t>
            </a:r>
          </a:p>
        </p:txBody>
      </p:sp>
      <p:grpSp>
        <p:nvGrpSpPr>
          <p:cNvPr id="170" name="Group 169">
            <a:extLst>
              <a:ext uri="{FF2B5EF4-FFF2-40B4-BE49-F238E27FC236}">
                <a16:creationId xmlns:a16="http://schemas.microsoft.com/office/drawing/2014/main" id="{3A28A1FE-88BC-91F9-17D2-A2481D7F4C6A}"/>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82BECA80-F239-1AC4-D715-73D028AEBCB4}"/>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8B702053-1B53-186F-CA2C-0973AF0AD16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296AD890-2050-608F-897F-E392930F03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C9D99216-6D68-9837-BBAE-15EDB73157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65C40408-6FC0-84E8-DE74-E02A9E41EBC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BCDAE8D3-9958-7F3F-37BA-209D55DDA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0A19C841-59CA-B39A-3998-79583233D0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FA49BB9F-9F7D-DE4E-3F8A-470A9E1335B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C96E1828-2B28-A588-4E35-572D13C12CB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A9754B72-BAC0-3026-31C0-4002A6183AE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CC778D5B-D563-F58B-FC7E-8304F437A5F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8F5D911A-C77B-4678-1595-830C986F6805}"/>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21073C04-8757-30A5-6569-5D36D1A51F9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D6E87B91-C181-41B8-D97F-597B010B30D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85F2A78B-392F-EDD6-3A11-973B447F0C4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7E7887F9-9EAA-B37B-8102-76E0452DF3E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A357E400-1B49-7B7F-3F77-0C101E6DC0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F4B1278C-9297-1559-2B2C-C16AC1DB95D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D31089F7-EB12-9B39-9B9E-850D7700886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F1C8345A-D3A0-E0C4-9075-720B376DD50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D407F131-AF11-EADD-3754-D5FDF993DAC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AAFC916D-4862-F7BC-2B23-DA21986980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67A66018-8B66-6D9C-4422-84E68978037C}"/>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E31DEFD3-BAD9-B117-4813-FE08E9B667F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63676593-E3D8-261C-0AC1-C521F6E8350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2DC9C6CA-3C7D-176D-17C5-05CDE221D25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5457FAA4-FBCE-7FA5-5245-A5D9862542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5C1642A3-F495-15EB-BA8F-60F4729BB3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EF39D221-ECFC-83F5-A9EB-68051E92CDB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8471E582-F75D-8E5F-01F9-3773D1135F2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9D2456EB-31D0-0EE8-F6D0-D0C9F18ED96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6B133478-84BC-0D95-5FEB-4C103D7D638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07E2AF89-208C-074E-2132-B8958239E47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189CC68B-17DB-53FE-3731-98CAF373897B}"/>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C81D40FF-6102-A065-4C64-CB02204742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3107E7DD-EAE1-E27F-9D0A-F07DCB6FF71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29EEA7F4-C7CF-136E-E1D2-5AC32643CE4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C00161B9-10B7-5621-133C-C14E573CEF7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290FE85F-6E1E-C880-A391-928F5AA6DB0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F1CDBC01-202D-2655-02AA-9E8F0D8B66E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6E32D0CD-1BE9-D2FB-3502-606992C1559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278605F7-7BEA-9B57-311B-85E263C0D0E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10314564-8632-EA90-6AC2-16AEBD2E69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F3AF75F0-614B-C741-CF1B-DAC0C849E1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12A10A71-D370-ED07-2582-2AF6054814BF}"/>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9942EF05-58F5-5DDA-951C-76D15B3A36BE}"/>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7BBAC8E3-6458-8E78-F495-45B4E57BF2A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D334A376-D663-EE9C-C009-193217E9EC2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3A182C57-5148-09DB-197B-DFD63D85AD1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9D1B644D-03EB-2F94-103B-D7A37273BF7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CDC54A98-6159-E1E4-A614-389A17B14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09260CBD-75DE-B627-E2DC-9DD6A69224E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9FE67CC6-B085-DD4B-681A-154E5D99AFF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F843A441-075F-E113-8337-7D4805C9BC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A10CFB13-4EE6-C4D3-0111-7AD51251C0A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050BDA2D-A34E-4F44-E0C0-CF7D32A0361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F16E86BF-BCC8-231A-16FA-BFD427649069}"/>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485228A9-B9F7-60A1-A5CA-7610FCBF57B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25980047-06C5-E077-4D33-8DE6A0EF8E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23B0ADE4-2D9F-DA23-FEF0-D3F6DC21A91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77D3162B-EDD6-1E11-D3E5-12784263EB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C3612FA2-B809-7B6B-7FAF-442525A36FA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31455B46-A6C0-9B3E-490C-B897D28678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D7A222AA-029F-B054-3B2C-486DE41D0E5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63DE8B6D-3777-6468-577E-1EA74F019BC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26B0D631-D9D5-1993-B0EC-50CFCC4677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83E7C663-FEC0-8659-A9D8-9F0BEB82044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0842BEEA-FAFA-4480-3708-518493BFFDBE}"/>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B64DBF5D-0ABC-3193-3586-8F829C1446B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6AB7635C-96CE-7EBD-EC7B-12F94F41570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5BF6B169-3570-3A2F-472C-FFBEC76CA66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969C5338-0053-00A0-EE8C-ED021387751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3A51BF3C-84AE-9F7C-885C-449E306AF4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A8D448E5-2511-5A91-27A6-AD79F1E4BC8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240E64AA-F92C-781E-9022-3ACB3860EB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F19989BF-B8B3-AD64-302E-184845462F6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ABA46A01-4271-969B-775D-76777082FD4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852CE5B6-A28C-ADE1-A594-B160DCE618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F8ED121B-46A4-52BF-7678-EFF970412906}"/>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64FA72EC-A639-9430-42B8-83FC3DC9605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0E13AAE2-E6A2-565F-2236-21F3D8B6406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8102B493-C3F6-01BB-A7BA-0863CA4EE5A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A0592002-D96E-C2FD-10F7-42C17B997C9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B1FF1663-91AD-4B7D-9D97-8B6319C8D12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F4B8EFED-4D17-71D9-D14B-F007FC989AE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92AF55BA-4232-E226-3443-022BAABC7C3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47C006F7-7185-ABE7-72B3-7ED5BC75868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93F8707D-9EC7-5EAF-9552-514DF873837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0A6B2903-2F30-73A8-BA7F-B76DE6678C8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57E0A367-B975-16B3-C67C-8A9EC0A1D729}"/>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C8CB248-ABEB-E544-C37D-439EB42F00B9}"/>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97E5C8D2-2104-E994-1AFC-D73BDCD499F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25547C80-3896-D90E-39BE-CE434F7B81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46E47E0F-9EF3-2213-B95A-5632A3CBE4F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632A5559-AB53-DF5C-95E7-6E6483C0271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F2CFDB09-6F2D-798E-5D23-FFC90E3F80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D85EF91F-B683-8624-A0D4-2FA76FC4223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1B5FB540-767B-798C-C718-00AC6464055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A31A2032-3250-8C07-5F23-BF3565A47DE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864E62C4-9423-5269-07C0-631668B32A6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3163499A-CE08-DAA5-F69B-D4AF84CAEE6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429A7E1B-773A-F860-3EEB-1CBA19E7672E}"/>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5B3AC2A9-DF61-FB73-C61F-126498EA11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BFB173DF-5071-AA59-DA4F-4312533877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5274CDC8-54FD-F37C-8E10-D6197BEEF6C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144B6CC3-39D4-6685-5063-CDB245D37EF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4BB5277B-15F6-6B5E-0E3C-D7221F2C454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D34EE643-EF97-34C3-0DA9-44E174CDDBF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B172A03C-B127-6BCE-1D4C-8AC4F9AAC9F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14D316B2-E046-D326-6FFF-688DD21FEE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19D1F92F-C84C-DE85-3EC7-29C3C0E9BE8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D1A306E6-77B4-D042-E1AF-CE8C64DBAF9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76767365-95BF-4246-68C2-DB0B2FFB52EA}"/>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6B3812D9-4E91-4E4D-BF1B-7B9937CCF76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498200B2-D9D3-2101-460D-494BB4D9293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01A5B600-A56F-4696-1B8F-8B52B9DBA95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85BC139A-6151-F356-B70D-0AF05E0BDD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EA21BA50-3D65-D69D-57F5-C03306F1F05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D3A1A9F6-476F-23E0-FD46-C90779F40B6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71BED966-56F1-336F-46E8-5F5E0C7067A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16389ABE-FE76-63AD-5FDA-C7920F0B65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6C090829-479B-5C75-2D44-C50BD92EB6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2935E9F8-C985-60B9-1619-E3AB0598967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A3A35CB2-B1AC-92C4-C1D8-6E0F5B4CABCC}"/>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6B500E04-E832-EB36-F221-F79FB04CE07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4D0F7DE8-CA49-0855-861E-075743EAA97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43B68A3A-FC27-AE62-5480-0BEFB065F8B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1140A500-1D7C-4793-629A-67723A05E39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30BE9020-434B-D7DF-83D9-617542EBF39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97432090-7AF3-6FFE-63C4-A885812DC5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DF029CC0-7D73-29C3-D560-1A780FDB44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5B18EF72-AE9C-B8DA-EA9F-887960DD291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8DBD191E-36CA-640C-6212-9677B66DFF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5C61FC4C-E8CE-BA8A-5C12-9E0C50B059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E6608528-046E-C86D-8220-525926FE2D7D}"/>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21957406-4769-D9A9-E279-0301858B67BB}"/>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248209A2-BB61-DD4D-2E5B-C30659DA2CF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775391BE-BB2D-F35A-C46D-28690B7126E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604A31CD-3D2C-5EEB-D681-C72BBFD0748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537FF546-E90D-1C5C-80F1-2F698A88F04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CB920550-CCF1-678B-F3F3-07FA63FCD79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CDA0B3DF-25AF-CD0A-C326-0FDF5DCC47D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F2B342EF-5CB2-6E20-7262-6EE9DD4921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1F59205E-F87A-6529-E029-73661D33A7B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3C33AA97-D971-3D96-DC24-885EE9CAC2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8ADAF025-F868-E4C5-35D4-752DC96B68E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C71FFABD-A22B-27FF-2907-940CD75D018D}"/>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97FAB4DE-E087-BEDE-36ED-5781B720ED9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576618F5-DA7F-FDA7-24F2-6DCDEE1B5B9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E58D511F-3787-430A-253F-3158F07FBAD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09CD4010-9CBF-AE5E-DBA4-F15D773409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8B9F4E0A-5D52-2055-1072-87737E2A6A6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45B98533-D594-F6DC-3E58-077922D6A2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A4C14A83-73EC-116C-905C-64F5A066DB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EB99F86F-8661-6486-CD78-572747BF84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545AB4CD-9F47-7D91-850E-D4A301DE35B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BE5D2B49-6422-097B-C6F0-079CACAA1F9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7A1653E5-1376-AE9E-C649-411A7DEA69E9}"/>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D061B420-A1D9-4657-7D40-559701DB926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FD2C3516-AF47-B8C7-4908-23553E05584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139BBA03-25D2-6CDE-3C7C-FA818A1BA6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C1B6423C-1430-538D-708A-52D8A55C072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45F4BDB7-36EF-C11A-0949-ECDF77D8349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0A8008AC-C150-E096-9256-BEB291CEFDE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F4B4EDE5-8A75-5D20-E0DF-4C5EC67F647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CA9EB890-95D3-8095-C492-85970217950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1EF2AC2F-E7F4-A2A1-C9A1-8D460B18E3E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A7D527E8-1104-DD24-6589-B83CE79B4DD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80179C48-EF74-6509-B55C-88C8CBA230E4}"/>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ED5F4340-6FE9-D77E-E56C-16B56DD94B7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F7D48A9F-3BC6-9AD2-56B5-B620A322F15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8FDE4F2E-916B-0396-D275-9E4AB2AD21C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2C239796-6DCE-43FE-93AA-EFDE784727C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FBA752BC-D63B-15A0-F586-A9AD4BBF2ED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7AC5F668-2885-4F0E-83B6-58C6891C0A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582A1477-FFC7-7896-7AB6-6A98D66563A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A0141483-032C-0E53-1956-3D0D5EEB0D6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34E0D589-75E8-0AEF-0729-39FA1090B07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034DD51E-A035-D453-A77B-E163F18DB1F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D6AEAA31-EA62-ED7D-6F9E-504B1DBA3071}"/>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F05D942D-8BCD-EEE7-9B70-1EC7CDBD47E2}"/>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9AF98188-61D9-F69B-5024-84425B4AC4B1}"/>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C25CF88B-8793-4411-6C18-3223D3F75D63}"/>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E3532E07-A71B-6BFE-4C9D-B914B90C74DA}"/>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880C502F-318E-4754-AA54-7E2893EB6A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83F66AB9-1817-762D-0D09-37EA229673B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FD61023F-7770-A7AC-6DAC-850B52065B7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C6E5B9D4-1D72-BE6D-73E0-D9C21E3CC4A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D3065175-1EFD-AE44-8329-45F96F07D7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6ACF3021-389D-1041-A51C-0EA51A9BDDF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4D92AC22-4F19-3FAB-ABAC-9BE6EAC29E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2820E93D-F571-2DBA-F0E0-3EE23CBBE0F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DD03143F-547C-AD87-64D1-59529DE7845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222EE5BC-2A83-CC59-E68F-F5E531A7839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0958E58F-98C6-FEBB-3B36-2912A5F4A663}"/>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888D422F-2149-AF60-536F-CAB9EF06D31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3B736DCA-FCE4-CF35-4741-38300B52E40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E847884A-628E-65D9-A93F-6D7653494CB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58DB432C-8639-504C-B123-8B112DCD5F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ABEB0A3F-34AC-9730-ED6E-4013F3DEDB2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956F816F-855C-F04A-EC5D-1626AE1FA33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F3698BFF-CB12-421A-F1E6-3123542155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D9BF4B0D-7277-7211-7803-A98B60CF12E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776FE2F1-8169-59B1-AB26-C3C1519DB04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26E8E316-0473-6C24-BADF-39D696894EB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33F2DFAD-B6A7-2696-42E7-964C4B4A2986}"/>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B7BB103E-3330-0AE3-339C-CA8DE3425D3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A539CDEA-D946-6C08-F1C4-CE198807AEB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CA40930B-07DC-4760-16F1-D51F75829D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A5698522-926D-5EF2-598F-636FA3FB396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140F3D5D-5B4C-1CBD-D935-40CD090322A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37A81901-6AE7-8FDF-37F2-84881B063F2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FED37D82-AD14-F11A-238E-41946559F83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611A850E-FD76-527E-0B65-84B63242E28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70DA4912-BAFC-57DA-F2C8-A8E2308DBBF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F90BBF62-9E86-8548-CD05-06AA451B8F7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D9E976EA-98DD-C450-995B-721976F3033C}"/>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E638076D-E471-9271-FBCA-19A6D22388A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87B23397-23CF-2EEB-FC85-D305A79B5E2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7E431140-98B4-070B-55E6-E274F90D255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FAC60E4C-D165-523A-8A11-A50FB0DA67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4716A3F6-3AA9-E0AC-1711-444E9230E5B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EE453F4A-DD35-4BFA-4230-A5473E7F6A0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201CB070-85F3-3F3B-623B-5EF47B65903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2D5F9827-9308-49A6-EBD5-659D21816EC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52D51F2A-5593-8DF7-A791-45BB5776BF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1BCDAA51-2983-E9A3-BB51-68C6E1E8867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extBox 1">
            <a:extLst>
              <a:ext uri="{FF2B5EF4-FFF2-40B4-BE49-F238E27FC236}">
                <a16:creationId xmlns:a16="http://schemas.microsoft.com/office/drawing/2014/main" id="{A101160F-9170-BDD1-9DE9-1233F3EB0EEA}"/>
              </a:ext>
            </a:extLst>
          </p:cNvPr>
          <p:cNvSpPr txBox="1"/>
          <p:nvPr/>
        </p:nvSpPr>
        <p:spPr>
          <a:xfrm>
            <a:off x="4248383" y="5205121"/>
            <a:ext cx="8817134" cy="830997"/>
          </a:xfrm>
          <a:prstGeom prst="rect">
            <a:avLst/>
          </a:prstGeom>
          <a:noFill/>
        </p:spPr>
        <p:txBody>
          <a:bodyPr wrap="square">
            <a:spAutoFit/>
          </a:bodyPr>
          <a:lstStyle/>
          <a:p>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Conclusion</a:t>
            </a:r>
          </a:p>
        </p:txBody>
      </p:sp>
    </p:spTree>
    <p:extLst>
      <p:ext uri="{BB962C8B-B14F-4D97-AF65-F5344CB8AC3E}">
        <p14:creationId xmlns:p14="http://schemas.microsoft.com/office/powerpoint/2010/main" val="133408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0" name="Picture 229"/>
          <p:cNvPicPr>
            <a:picLocks noChangeAspect="1"/>
          </p:cNvPicPr>
          <p:nvPr/>
        </p:nvPicPr>
        <p:blipFill>
          <a:blip r:embed="rId4">
            <a:extLst>
              <a:ext uri="{BEBA8EAE-BF5A-486C-A8C5-ECC9F3942E4B}">
                <a14:imgProps xmlns:a14="http://schemas.microsoft.com/office/drawing/2010/main">
                  <a14:imgLayer r:embed="rId5">
                    <a14:imgEffect>
                      <a14:colorTemperature colorTemp="5900"/>
                    </a14:imgEffect>
                  </a14:imgLayer>
                </a14:imgProps>
              </a:ext>
              <a:ext uri="{28A0092B-C50C-407E-A947-70E740481C1C}">
                <a14:useLocalDpi xmlns:a14="http://schemas.microsoft.com/office/drawing/2010/main" val="0"/>
              </a:ext>
            </a:extLst>
          </a:blip>
          <a:stretch>
            <a:fillRect/>
          </a:stretch>
        </p:blipFill>
        <p:spPr>
          <a:xfrm>
            <a:off x="-1" y="-12827"/>
            <a:ext cx="12191999" cy="6870823"/>
          </a:xfrm>
          <a:prstGeom prst="rect">
            <a:avLst/>
          </a:prstGeom>
        </p:spPr>
      </p:pic>
      <p:graphicFrame>
        <p:nvGraphicFramePr>
          <p:cNvPr id="104" name="Object 103"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04" name="Object 103" hidden="1"/>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Rectangle 1"/>
          <p:cNvSpPr/>
          <p:nvPr/>
        </p:nvSpPr>
        <p:spPr>
          <a:xfrm>
            <a:off x="-20391" y="-12827"/>
            <a:ext cx="12232777"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Oval 230"/>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Freeform 124"/>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p:cNvSpPr/>
          <p:nvPr/>
        </p:nvSpPr>
        <p:spPr>
          <a:xfrm flipH="1">
            <a:off x="10879772" y="5561337"/>
            <a:ext cx="965864" cy="965864"/>
          </a:xfrm>
          <a:prstGeom prst="ellipse">
            <a:avLst/>
          </a:prstGeom>
          <a:blipFill>
            <a:blip r:embed="rId8"/>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p:cNvSpPr/>
          <p:nvPr/>
        </p:nvSpPr>
        <p:spPr>
          <a:xfrm flipV="1">
            <a:off x="10259352" y="4957602"/>
            <a:ext cx="422118" cy="422118"/>
          </a:xfrm>
          <a:prstGeom prst="ellipse">
            <a:avLst/>
          </a:prstGeom>
          <a:blipFill>
            <a:blip r:embed="rId8"/>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1" fmla="*/ 0 w 2875305"/>
              <a:gd name="connsiteY0-2" fmla="*/ 2859741 h 2951181"/>
              <a:gd name="connsiteX1-3" fmla="*/ 2706170 w 2875305"/>
              <a:gd name="connsiteY1-4" fmla="*/ 2859741 h 2951181"/>
              <a:gd name="connsiteX2-5" fmla="*/ 2714519 w 2875305"/>
              <a:gd name="connsiteY2-6" fmla="*/ 2842410 h 2951181"/>
              <a:gd name="connsiteX3-7" fmla="*/ 2875305 w 2875305"/>
              <a:gd name="connsiteY3-8" fmla="*/ 2046010 h 2951181"/>
              <a:gd name="connsiteX4-9" fmla="*/ 829295 w 2875305"/>
              <a:gd name="connsiteY4-10" fmla="*/ 0 h 2951181"/>
              <a:gd name="connsiteX5-11" fmla="*/ 32896 w 2875305"/>
              <a:gd name="connsiteY5-12" fmla="*/ 160786 h 2951181"/>
              <a:gd name="connsiteX6-13" fmla="*/ 0 w 2875305"/>
              <a:gd name="connsiteY6-14" fmla="*/ 176632 h 2951181"/>
              <a:gd name="connsiteX7-15" fmla="*/ 91440 w 2875305"/>
              <a:gd name="connsiteY7-16" fmla="*/ 2951181 h 2951181"/>
              <a:gd name="connsiteX0-17" fmla="*/ 0 w 2875305"/>
              <a:gd name="connsiteY0-18" fmla="*/ 2859741 h 2859741"/>
              <a:gd name="connsiteX1-19" fmla="*/ 2706170 w 2875305"/>
              <a:gd name="connsiteY1-20" fmla="*/ 2859741 h 2859741"/>
              <a:gd name="connsiteX2-21" fmla="*/ 2714519 w 2875305"/>
              <a:gd name="connsiteY2-22" fmla="*/ 2842410 h 2859741"/>
              <a:gd name="connsiteX3-23" fmla="*/ 2875305 w 2875305"/>
              <a:gd name="connsiteY3-24" fmla="*/ 2046010 h 2859741"/>
              <a:gd name="connsiteX4-25" fmla="*/ 829295 w 2875305"/>
              <a:gd name="connsiteY4-26" fmla="*/ 0 h 2859741"/>
              <a:gd name="connsiteX5-27" fmla="*/ 32896 w 2875305"/>
              <a:gd name="connsiteY5-28" fmla="*/ 160786 h 2859741"/>
              <a:gd name="connsiteX6-29" fmla="*/ 0 w 2875305"/>
              <a:gd name="connsiteY6-30" fmla="*/ 176632 h 2859741"/>
              <a:gd name="connsiteX0-31" fmla="*/ 2706170 w 2875305"/>
              <a:gd name="connsiteY0-32" fmla="*/ 2859741 h 2859741"/>
              <a:gd name="connsiteX1-33" fmla="*/ 2714519 w 2875305"/>
              <a:gd name="connsiteY1-34" fmla="*/ 2842410 h 2859741"/>
              <a:gd name="connsiteX2-35" fmla="*/ 2875305 w 2875305"/>
              <a:gd name="connsiteY2-36" fmla="*/ 2046010 h 2859741"/>
              <a:gd name="connsiteX3-37" fmla="*/ 829295 w 2875305"/>
              <a:gd name="connsiteY3-38" fmla="*/ 0 h 2859741"/>
              <a:gd name="connsiteX4-39" fmla="*/ 32896 w 2875305"/>
              <a:gd name="connsiteY4-40" fmla="*/ 160786 h 2859741"/>
              <a:gd name="connsiteX5-41" fmla="*/ 0 w 2875305"/>
              <a:gd name="connsiteY5-42" fmla="*/ 176632 h 285974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4" name="Group 3"/>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5" name="Group 4"/>
            <p:cNvGrpSpPr/>
            <p:nvPr/>
          </p:nvGrpSpPr>
          <p:grpSpPr>
            <a:xfrm rot="5400000">
              <a:off x="1055270" y="-538236"/>
              <a:ext cx="86591" cy="1729654"/>
              <a:chOff x="85292" y="59892"/>
              <a:chExt cx="86591" cy="1729654"/>
            </a:xfrm>
            <a:grpFill/>
          </p:grpSpPr>
          <p:sp>
            <p:nvSpPr>
              <p:cNvPr id="264" name="Oval 263"/>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p:cNvGrpSpPr/>
            <p:nvPr/>
          </p:nvGrpSpPr>
          <p:grpSpPr>
            <a:xfrm rot="5400000">
              <a:off x="1055270" y="-284344"/>
              <a:ext cx="86591" cy="1729654"/>
              <a:chOff x="85292" y="59892"/>
              <a:chExt cx="86591" cy="1729654"/>
            </a:xfrm>
            <a:grpFill/>
          </p:grpSpPr>
          <p:sp>
            <p:nvSpPr>
              <p:cNvPr id="28" name="Oval 2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p:cNvGrpSpPr/>
            <p:nvPr/>
          </p:nvGrpSpPr>
          <p:grpSpPr>
            <a:xfrm rot="5400000">
              <a:off x="1055270" y="-30452"/>
              <a:ext cx="86591" cy="1729654"/>
              <a:chOff x="85292" y="59892"/>
              <a:chExt cx="86591" cy="1729654"/>
            </a:xfrm>
            <a:grpFill/>
          </p:grpSpPr>
          <p:sp>
            <p:nvSpPr>
              <p:cNvPr id="18" name="Oval 1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p:cNvGrpSpPr/>
            <p:nvPr/>
          </p:nvGrpSpPr>
          <p:grpSpPr>
            <a:xfrm rot="5400000">
              <a:off x="1055270" y="223441"/>
              <a:ext cx="86591" cy="1729654"/>
              <a:chOff x="85292" y="59892"/>
              <a:chExt cx="86591" cy="1729654"/>
            </a:xfrm>
            <a:grpFill/>
          </p:grpSpPr>
          <p:sp>
            <p:nvSpPr>
              <p:cNvPr id="9" name="Oval 8"/>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p:cNvGrpSpPr/>
          <p:nvPr/>
        </p:nvGrpSpPr>
        <p:grpSpPr>
          <a:xfrm flipH="1">
            <a:off x="-7335" y="5836849"/>
            <a:ext cx="2054439" cy="578277"/>
            <a:chOff x="1171787" y="5711403"/>
            <a:chExt cx="2054439" cy="578277"/>
          </a:xfrm>
        </p:grpSpPr>
        <p:cxnSp>
          <p:nvCxnSpPr>
            <p:cNvPr id="227" name="Straight Connector 226"/>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p:cNvCxnSpPr/>
          <p:nvPr/>
        </p:nvCxnSpPr>
        <p:spPr>
          <a:xfrm>
            <a:off x="615948" y="1277720"/>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p:cNvGrpSpPr/>
            <p:nvPr/>
          </p:nvGrpSpPr>
          <p:grpSpPr>
            <a:xfrm rot="5400000">
              <a:off x="1055270" y="-538236"/>
              <a:ext cx="86591" cy="1729654"/>
              <a:chOff x="85292" y="59892"/>
              <a:chExt cx="86591" cy="1729654"/>
            </a:xfrm>
            <a:grpFill/>
          </p:grpSpPr>
          <p:sp>
            <p:nvSpPr>
              <p:cNvPr id="223" name="Oval 22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p:cNvGrpSpPr/>
            <p:nvPr/>
          </p:nvGrpSpPr>
          <p:grpSpPr>
            <a:xfrm rot="5400000">
              <a:off x="1055270" y="-284344"/>
              <a:ext cx="86591" cy="1729654"/>
              <a:chOff x="85292" y="59892"/>
              <a:chExt cx="86591" cy="1729654"/>
            </a:xfrm>
            <a:grpFill/>
          </p:grpSpPr>
          <p:sp>
            <p:nvSpPr>
              <p:cNvPr id="213" name="Oval 21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p:cNvGrpSpPr/>
            <p:nvPr/>
          </p:nvGrpSpPr>
          <p:grpSpPr>
            <a:xfrm rot="5400000">
              <a:off x="1055270" y="-30452"/>
              <a:ext cx="86591" cy="1729654"/>
              <a:chOff x="85292" y="59892"/>
              <a:chExt cx="86591" cy="1729654"/>
            </a:xfrm>
            <a:grpFill/>
          </p:grpSpPr>
          <p:sp>
            <p:nvSpPr>
              <p:cNvPr id="126" name="Oval 12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p:cNvGrpSpPr/>
            <p:nvPr/>
          </p:nvGrpSpPr>
          <p:grpSpPr>
            <a:xfrm rot="5400000">
              <a:off x="1055270" y="223441"/>
              <a:ext cx="86591" cy="1729654"/>
              <a:chOff x="85292" y="59892"/>
              <a:chExt cx="86591" cy="1729654"/>
            </a:xfrm>
            <a:grpFill/>
          </p:grpSpPr>
          <p:sp>
            <p:nvSpPr>
              <p:cNvPr id="116" name="Oval 11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p:cNvGrpSpPr/>
            <p:nvPr/>
          </p:nvGrpSpPr>
          <p:grpSpPr>
            <a:xfrm rot="5400000">
              <a:off x="1055270" y="-538236"/>
              <a:ext cx="86591" cy="1729654"/>
              <a:chOff x="85292" y="59892"/>
              <a:chExt cx="86591" cy="1729654"/>
            </a:xfrm>
            <a:grpFill/>
          </p:grpSpPr>
          <p:sp>
            <p:nvSpPr>
              <p:cNvPr id="332" name="Oval 33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p:cNvGrpSpPr/>
            <p:nvPr/>
          </p:nvGrpSpPr>
          <p:grpSpPr>
            <a:xfrm rot="5400000">
              <a:off x="1055270" y="-284344"/>
              <a:ext cx="86591" cy="1729654"/>
              <a:chOff x="85292" y="59892"/>
              <a:chExt cx="86591" cy="1729654"/>
            </a:xfrm>
            <a:grpFill/>
          </p:grpSpPr>
          <p:sp>
            <p:nvSpPr>
              <p:cNvPr id="322" name="Oval 32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p:cNvGrpSpPr/>
            <p:nvPr/>
          </p:nvGrpSpPr>
          <p:grpSpPr>
            <a:xfrm rot="5400000">
              <a:off x="1055270" y="-30452"/>
              <a:ext cx="86591" cy="1729654"/>
              <a:chOff x="85292" y="59892"/>
              <a:chExt cx="86591" cy="1729654"/>
            </a:xfrm>
            <a:grpFill/>
          </p:grpSpPr>
          <p:sp>
            <p:nvSpPr>
              <p:cNvPr id="312" name="Oval 31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p:cNvGrpSpPr/>
            <p:nvPr/>
          </p:nvGrpSpPr>
          <p:grpSpPr>
            <a:xfrm rot="5400000">
              <a:off x="1055270" y="223441"/>
              <a:ext cx="86591" cy="1729654"/>
              <a:chOff x="85292" y="59892"/>
              <a:chExt cx="86591" cy="1729654"/>
            </a:xfrm>
            <a:grpFill/>
          </p:grpSpPr>
          <p:sp>
            <p:nvSpPr>
              <p:cNvPr id="302" name="Oval 30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p:cNvGrpSpPr/>
            <p:nvPr/>
          </p:nvGrpSpPr>
          <p:grpSpPr>
            <a:xfrm rot="5400000">
              <a:off x="1055270" y="-538236"/>
              <a:ext cx="86591" cy="1729654"/>
              <a:chOff x="85292" y="59892"/>
              <a:chExt cx="86591" cy="1729654"/>
            </a:xfrm>
            <a:grpFill/>
          </p:grpSpPr>
          <p:sp>
            <p:nvSpPr>
              <p:cNvPr id="377" name="Oval 37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p:cNvGrpSpPr/>
            <p:nvPr/>
          </p:nvGrpSpPr>
          <p:grpSpPr>
            <a:xfrm rot="5400000">
              <a:off x="1055270" y="-284344"/>
              <a:ext cx="86591" cy="1729654"/>
              <a:chOff x="85292" y="59892"/>
              <a:chExt cx="86591" cy="1729654"/>
            </a:xfrm>
            <a:grpFill/>
          </p:grpSpPr>
          <p:sp>
            <p:nvSpPr>
              <p:cNvPr id="367" name="Oval 36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p:cNvGrpSpPr/>
            <p:nvPr/>
          </p:nvGrpSpPr>
          <p:grpSpPr>
            <a:xfrm rot="5400000">
              <a:off x="1055270" y="-30452"/>
              <a:ext cx="86591" cy="1729654"/>
              <a:chOff x="85292" y="59892"/>
              <a:chExt cx="86591" cy="1729654"/>
            </a:xfrm>
            <a:grpFill/>
          </p:grpSpPr>
          <p:sp>
            <p:nvSpPr>
              <p:cNvPr id="357" name="Oval 35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p:cNvGrpSpPr/>
            <p:nvPr/>
          </p:nvGrpSpPr>
          <p:grpSpPr>
            <a:xfrm rot="5400000">
              <a:off x="1055270" y="223441"/>
              <a:ext cx="86591" cy="1729654"/>
              <a:chOff x="85292" y="59892"/>
              <a:chExt cx="86591" cy="1729654"/>
            </a:xfrm>
            <a:grpFill/>
          </p:grpSpPr>
          <p:sp>
            <p:nvSpPr>
              <p:cNvPr id="347" name="Oval 34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65" name="TextBox 64"/>
          <p:cNvSpPr txBox="1"/>
          <p:nvPr/>
        </p:nvSpPr>
        <p:spPr>
          <a:xfrm>
            <a:off x="1370974" y="1223744"/>
            <a:ext cx="8358526" cy="4892675"/>
          </a:xfrm>
          <a:prstGeom prst="rect">
            <a:avLst/>
          </a:prstGeom>
          <a:noFill/>
        </p:spPr>
        <p:txBody>
          <a:bodyPr wrap="square">
            <a:spAutoFit/>
          </a:bodyPr>
          <a:lstStyle/>
          <a:p>
            <a:pPr marL="285750" indent="-285750">
              <a:buFont typeface="Wingdings" panose="05000000000000000000" pitchFamily="2" charset="2"/>
              <a:buChar char="ü"/>
            </a:pPr>
            <a:r>
              <a:rPr lang="en-US" sz="2400" b="1" dirty="0">
                <a:ln>
                  <a:solidFill>
                    <a:schemeClr val="tx1"/>
                  </a:solidFill>
                </a:ln>
                <a:solidFill>
                  <a:schemeClr val="bg1"/>
                </a:solidFill>
                <a:sym typeface="+mn-ea"/>
              </a:rPr>
              <a:t>The Baum–Welch algorithm uses the well known EM algorithm to find the maximum likelihood estimate of the parameters of a hidden Markov model given a set of observed feature vectors. </a:t>
            </a:r>
            <a:endParaRPr lang="en-US" sz="2400" b="1" dirty="0">
              <a:ln>
                <a:solidFill>
                  <a:schemeClr val="tx1"/>
                </a:solidFill>
              </a:ln>
              <a:solidFill>
                <a:schemeClr val="bg1"/>
              </a:solidFill>
            </a:endParaRPr>
          </a:p>
          <a:p>
            <a:pPr marL="285750" indent="-285750">
              <a:buFont typeface="Wingdings" panose="05000000000000000000" pitchFamily="2" charset="2"/>
              <a:buChar char="ü"/>
            </a:pPr>
            <a:endParaRPr lang="en-US" sz="2400" b="1" dirty="0">
              <a:ln>
                <a:solidFill>
                  <a:schemeClr val="tx1"/>
                </a:solidFill>
              </a:ln>
              <a:solidFill>
                <a:schemeClr val="bg1"/>
              </a:solidFill>
            </a:endParaRPr>
          </a:p>
          <a:p>
            <a:pPr marL="285750" indent="-285750">
              <a:buFont typeface="Wingdings" panose="05000000000000000000" pitchFamily="2" charset="2"/>
              <a:buChar char="ü"/>
            </a:pPr>
            <a:r>
              <a:rPr lang="en-US" sz="2400" b="1" dirty="0">
                <a:ln>
                  <a:solidFill>
                    <a:schemeClr val="tx1"/>
                  </a:solidFill>
                </a:ln>
                <a:solidFill>
                  <a:schemeClr val="bg1"/>
                </a:solidFill>
              </a:rPr>
              <a:t>The Baum-Welch algorithm plays a vital role in estimating the parameters of hidden Markov models, enabling us to gain insights and make predictions in diverse fields.</a:t>
            </a:r>
          </a:p>
          <a:p>
            <a:endParaRPr lang="en-US" sz="2400" b="1" dirty="0">
              <a:ln>
                <a:solidFill>
                  <a:schemeClr val="tx1"/>
                </a:solidFill>
              </a:ln>
              <a:solidFill>
                <a:schemeClr val="bg1"/>
              </a:solidFill>
            </a:endParaRPr>
          </a:p>
          <a:p>
            <a:pPr marL="285750" indent="-285750">
              <a:buFont typeface="Wingdings" panose="05000000000000000000" pitchFamily="2" charset="2"/>
              <a:buChar char="ü"/>
            </a:pPr>
            <a:r>
              <a:rPr lang="en-US" sz="2400" b="1" dirty="0">
                <a:ln>
                  <a:solidFill>
                    <a:schemeClr val="tx1"/>
                  </a:solidFill>
                </a:ln>
                <a:solidFill>
                  <a:schemeClr val="bg1"/>
                </a:solidFill>
              </a:rPr>
              <a:t>It offers efficient parameter estimation, making it a valuable tool for modeling and analyzing complex systems.</a:t>
            </a:r>
          </a:p>
        </p:txBody>
      </p:sp>
      <p:sp>
        <p:nvSpPr>
          <p:cNvPr id="66" name="Rectangle 65"/>
          <p:cNvSpPr/>
          <p:nvPr/>
        </p:nvSpPr>
        <p:spPr>
          <a:xfrm>
            <a:off x="877120" y="240020"/>
            <a:ext cx="4184543"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Conclus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0" name="Picture 229"/>
          <p:cNvPicPr>
            <a:picLocks noChangeAspect="1"/>
          </p:cNvPicPr>
          <p:nvPr/>
        </p:nvPicPr>
        <p:blipFill>
          <a:blip r:embed="rId4">
            <a:extLst>
              <a:ext uri="{BEBA8EAE-BF5A-486C-A8C5-ECC9F3942E4B}">
                <a14:imgProps xmlns:a14="http://schemas.microsoft.com/office/drawing/2010/main">
                  <a14:imgLayer r:embed="rId5">
                    <a14:imgEffect>
                      <a14:colorTemperature colorTemp="5900"/>
                    </a14:imgEffect>
                  </a14:imgLayer>
                </a14:imgProps>
              </a:ext>
              <a:ext uri="{28A0092B-C50C-407E-A947-70E740481C1C}">
                <a14:useLocalDpi xmlns:a14="http://schemas.microsoft.com/office/drawing/2010/main" val="0"/>
              </a:ext>
            </a:extLst>
          </a:blip>
          <a:stretch>
            <a:fillRect/>
          </a:stretch>
        </p:blipFill>
        <p:spPr>
          <a:xfrm>
            <a:off x="-1" y="-12827"/>
            <a:ext cx="12191999" cy="6870823"/>
          </a:xfrm>
          <a:prstGeom prst="rect">
            <a:avLst/>
          </a:prstGeom>
        </p:spPr>
      </p:pic>
      <p:graphicFrame>
        <p:nvGraphicFramePr>
          <p:cNvPr id="104" name="Object 103"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04" name="Object 103" hidden="1"/>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Rectangle 1"/>
          <p:cNvSpPr/>
          <p:nvPr/>
        </p:nvSpPr>
        <p:spPr>
          <a:xfrm>
            <a:off x="-20391" y="-12827"/>
            <a:ext cx="12232777"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Oval 230"/>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Freeform 124"/>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p:cNvSpPr/>
          <p:nvPr/>
        </p:nvSpPr>
        <p:spPr>
          <a:xfrm flipH="1">
            <a:off x="10879772" y="5561337"/>
            <a:ext cx="965864" cy="965864"/>
          </a:xfrm>
          <a:prstGeom prst="ellipse">
            <a:avLst/>
          </a:prstGeom>
          <a:blipFill>
            <a:blip r:embed="rId8"/>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p:cNvSpPr/>
          <p:nvPr/>
        </p:nvSpPr>
        <p:spPr>
          <a:xfrm flipV="1">
            <a:off x="10259352" y="4957602"/>
            <a:ext cx="422118" cy="422118"/>
          </a:xfrm>
          <a:prstGeom prst="ellipse">
            <a:avLst/>
          </a:prstGeom>
          <a:blipFill>
            <a:blip r:embed="rId8"/>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125"/>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1" fmla="*/ 0 w 2875305"/>
              <a:gd name="connsiteY0-2" fmla="*/ 2859741 h 2951181"/>
              <a:gd name="connsiteX1-3" fmla="*/ 2706170 w 2875305"/>
              <a:gd name="connsiteY1-4" fmla="*/ 2859741 h 2951181"/>
              <a:gd name="connsiteX2-5" fmla="*/ 2714519 w 2875305"/>
              <a:gd name="connsiteY2-6" fmla="*/ 2842410 h 2951181"/>
              <a:gd name="connsiteX3-7" fmla="*/ 2875305 w 2875305"/>
              <a:gd name="connsiteY3-8" fmla="*/ 2046010 h 2951181"/>
              <a:gd name="connsiteX4-9" fmla="*/ 829295 w 2875305"/>
              <a:gd name="connsiteY4-10" fmla="*/ 0 h 2951181"/>
              <a:gd name="connsiteX5-11" fmla="*/ 32896 w 2875305"/>
              <a:gd name="connsiteY5-12" fmla="*/ 160786 h 2951181"/>
              <a:gd name="connsiteX6-13" fmla="*/ 0 w 2875305"/>
              <a:gd name="connsiteY6-14" fmla="*/ 176632 h 2951181"/>
              <a:gd name="connsiteX7-15" fmla="*/ 91440 w 2875305"/>
              <a:gd name="connsiteY7-16" fmla="*/ 2951181 h 2951181"/>
              <a:gd name="connsiteX0-17" fmla="*/ 0 w 2875305"/>
              <a:gd name="connsiteY0-18" fmla="*/ 2859741 h 2859741"/>
              <a:gd name="connsiteX1-19" fmla="*/ 2706170 w 2875305"/>
              <a:gd name="connsiteY1-20" fmla="*/ 2859741 h 2859741"/>
              <a:gd name="connsiteX2-21" fmla="*/ 2714519 w 2875305"/>
              <a:gd name="connsiteY2-22" fmla="*/ 2842410 h 2859741"/>
              <a:gd name="connsiteX3-23" fmla="*/ 2875305 w 2875305"/>
              <a:gd name="connsiteY3-24" fmla="*/ 2046010 h 2859741"/>
              <a:gd name="connsiteX4-25" fmla="*/ 829295 w 2875305"/>
              <a:gd name="connsiteY4-26" fmla="*/ 0 h 2859741"/>
              <a:gd name="connsiteX5-27" fmla="*/ 32896 w 2875305"/>
              <a:gd name="connsiteY5-28" fmla="*/ 160786 h 2859741"/>
              <a:gd name="connsiteX6-29" fmla="*/ 0 w 2875305"/>
              <a:gd name="connsiteY6-30" fmla="*/ 176632 h 2859741"/>
              <a:gd name="connsiteX0-31" fmla="*/ 2706170 w 2875305"/>
              <a:gd name="connsiteY0-32" fmla="*/ 2859741 h 2859741"/>
              <a:gd name="connsiteX1-33" fmla="*/ 2714519 w 2875305"/>
              <a:gd name="connsiteY1-34" fmla="*/ 2842410 h 2859741"/>
              <a:gd name="connsiteX2-35" fmla="*/ 2875305 w 2875305"/>
              <a:gd name="connsiteY2-36" fmla="*/ 2046010 h 2859741"/>
              <a:gd name="connsiteX3-37" fmla="*/ 829295 w 2875305"/>
              <a:gd name="connsiteY3-38" fmla="*/ 0 h 2859741"/>
              <a:gd name="connsiteX4-39" fmla="*/ 32896 w 2875305"/>
              <a:gd name="connsiteY4-40" fmla="*/ 160786 h 2859741"/>
              <a:gd name="connsiteX5-41" fmla="*/ 0 w 2875305"/>
              <a:gd name="connsiteY5-42" fmla="*/ 176632 h 285974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p:cNvGrpSpPr/>
            <p:nvPr/>
          </p:nvGrpSpPr>
          <p:grpSpPr>
            <a:xfrm rot="5400000">
              <a:off x="1055270" y="-538236"/>
              <a:ext cx="86591" cy="1729654"/>
              <a:chOff x="85292" y="59892"/>
              <a:chExt cx="86591" cy="1729654"/>
            </a:xfrm>
            <a:grpFill/>
          </p:grpSpPr>
          <p:sp>
            <p:nvSpPr>
              <p:cNvPr id="264" name="Oval 263"/>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p:cNvGrpSpPr/>
            <p:nvPr/>
          </p:nvGrpSpPr>
          <p:grpSpPr>
            <a:xfrm rot="5400000">
              <a:off x="1055270" y="-284344"/>
              <a:ext cx="86591" cy="1729654"/>
              <a:chOff x="85292" y="59892"/>
              <a:chExt cx="86591" cy="1729654"/>
            </a:xfrm>
            <a:grpFill/>
          </p:grpSpPr>
          <p:sp>
            <p:nvSpPr>
              <p:cNvPr id="28" name="Oval 2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p:cNvGrpSpPr/>
            <p:nvPr/>
          </p:nvGrpSpPr>
          <p:grpSpPr>
            <a:xfrm rot="5400000">
              <a:off x="1055270" y="-30452"/>
              <a:ext cx="86591" cy="1729654"/>
              <a:chOff x="85292" y="59892"/>
              <a:chExt cx="86591" cy="1729654"/>
            </a:xfrm>
            <a:grpFill/>
          </p:grpSpPr>
          <p:sp>
            <p:nvSpPr>
              <p:cNvPr id="18" name="Oval 1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p:cNvGrpSpPr/>
            <p:nvPr/>
          </p:nvGrpSpPr>
          <p:grpSpPr>
            <a:xfrm rot="5400000">
              <a:off x="1055270" y="223441"/>
              <a:ext cx="86591" cy="1729654"/>
              <a:chOff x="85292" y="59892"/>
              <a:chExt cx="86591" cy="1729654"/>
            </a:xfrm>
            <a:grpFill/>
          </p:grpSpPr>
          <p:sp>
            <p:nvSpPr>
              <p:cNvPr id="8" name="Oval 7"/>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p:cNvGrpSpPr/>
          <p:nvPr/>
        </p:nvGrpSpPr>
        <p:grpSpPr>
          <a:xfrm flipH="1">
            <a:off x="-7335" y="5836849"/>
            <a:ext cx="2054439" cy="578277"/>
            <a:chOff x="1171787" y="5711403"/>
            <a:chExt cx="2054439" cy="578277"/>
          </a:xfrm>
        </p:grpSpPr>
        <p:cxnSp>
          <p:nvCxnSpPr>
            <p:cNvPr id="227" name="Straight Connector 226"/>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p:cNvCxnSpPr/>
          <p:nvPr/>
        </p:nvCxnSpPr>
        <p:spPr>
          <a:xfrm>
            <a:off x="615948" y="1277720"/>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p:cNvGrpSpPr/>
            <p:nvPr/>
          </p:nvGrpSpPr>
          <p:grpSpPr>
            <a:xfrm rot="5400000">
              <a:off x="1055270" y="-538236"/>
              <a:ext cx="86591" cy="1729654"/>
              <a:chOff x="85292" y="59892"/>
              <a:chExt cx="86591" cy="1729654"/>
            </a:xfrm>
            <a:grpFill/>
          </p:grpSpPr>
          <p:sp>
            <p:nvSpPr>
              <p:cNvPr id="223" name="Oval 22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p:cNvGrpSpPr/>
            <p:nvPr/>
          </p:nvGrpSpPr>
          <p:grpSpPr>
            <a:xfrm rot="5400000">
              <a:off x="1055270" y="-284344"/>
              <a:ext cx="86591" cy="1729654"/>
              <a:chOff x="85292" y="59892"/>
              <a:chExt cx="86591" cy="1729654"/>
            </a:xfrm>
            <a:grpFill/>
          </p:grpSpPr>
          <p:sp>
            <p:nvSpPr>
              <p:cNvPr id="213" name="Oval 212"/>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p:cNvGrpSpPr/>
            <p:nvPr/>
          </p:nvGrpSpPr>
          <p:grpSpPr>
            <a:xfrm rot="5400000">
              <a:off x="1055270" y="-30452"/>
              <a:ext cx="86591" cy="1729654"/>
              <a:chOff x="85292" y="59892"/>
              <a:chExt cx="86591" cy="1729654"/>
            </a:xfrm>
            <a:grpFill/>
          </p:grpSpPr>
          <p:sp>
            <p:nvSpPr>
              <p:cNvPr id="126" name="Oval 12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p:cNvGrpSpPr/>
            <p:nvPr/>
          </p:nvGrpSpPr>
          <p:grpSpPr>
            <a:xfrm rot="5400000">
              <a:off x="1055270" y="223441"/>
              <a:ext cx="86591" cy="1729654"/>
              <a:chOff x="85292" y="59892"/>
              <a:chExt cx="86591" cy="1729654"/>
            </a:xfrm>
            <a:grpFill/>
          </p:grpSpPr>
          <p:sp>
            <p:nvSpPr>
              <p:cNvPr id="116" name="Oval 115"/>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p:cNvGrpSpPr/>
            <p:nvPr/>
          </p:nvGrpSpPr>
          <p:grpSpPr>
            <a:xfrm rot="5400000">
              <a:off x="1055270" y="-538236"/>
              <a:ext cx="86591" cy="1729654"/>
              <a:chOff x="85292" y="59892"/>
              <a:chExt cx="86591" cy="1729654"/>
            </a:xfrm>
            <a:grpFill/>
          </p:grpSpPr>
          <p:sp>
            <p:nvSpPr>
              <p:cNvPr id="332" name="Oval 33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p:cNvGrpSpPr/>
            <p:nvPr/>
          </p:nvGrpSpPr>
          <p:grpSpPr>
            <a:xfrm rot="5400000">
              <a:off x="1055270" y="-284344"/>
              <a:ext cx="86591" cy="1729654"/>
              <a:chOff x="85292" y="59892"/>
              <a:chExt cx="86591" cy="1729654"/>
            </a:xfrm>
            <a:grpFill/>
          </p:grpSpPr>
          <p:sp>
            <p:nvSpPr>
              <p:cNvPr id="322" name="Oval 32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p:cNvGrpSpPr/>
            <p:nvPr/>
          </p:nvGrpSpPr>
          <p:grpSpPr>
            <a:xfrm rot="5400000">
              <a:off x="1055270" y="-30452"/>
              <a:ext cx="86591" cy="1729654"/>
              <a:chOff x="85292" y="59892"/>
              <a:chExt cx="86591" cy="1729654"/>
            </a:xfrm>
            <a:grpFill/>
          </p:grpSpPr>
          <p:sp>
            <p:nvSpPr>
              <p:cNvPr id="312" name="Oval 31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p:cNvGrpSpPr/>
            <p:nvPr/>
          </p:nvGrpSpPr>
          <p:grpSpPr>
            <a:xfrm rot="5400000">
              <a:off x="1055270" y="223441"/>
              <a:ext cx="86591" cy="1729654"/>
              <a:chOff x="85292" y="59892"/>
              <a:chExt cx="86591" cy="1729654"/>
            </a:xfrm>
            <a:grpFill/>
          </p:grpSpPr>
          <p:sp>
            <p:nvSpPr>
              <p:cNvPr id="302" name="Oval 301"/>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p:cNvGrpSpPr/>
            <p:nvPr/>
          </p:nvGrpSpPr>
          <p:grpSpPr>
            <a:xfrm rot="5400000">
              <a:off x="1055270" y="-538236"/>
              <a:ext cx="86591" cy="1729654"/>
              <a:chOff x="85292" y="59892"/>
              <a:chExt cx="86591" cy="1729654"/>
            </a:xfrm>
            <a:grpFill/>
          </p:grpSpPr>
          <p:sp>
            <p:nvSpPr>
              <p:cNvPr id="377" name="Oval 37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p:cNvGrpSpPr/>
            <p:nvPr/>
          </p:nvGrpSpPr>
          <p:grpSpPr>
            <a:xfrm rot="5400000">
              <a:off x="1055270" y="-284344"/>
              <a:ext cx="86591" cy="1729654"/>
              <a:chOff x="85292" y="59892"/>
              <a:chExt cx="86591" cy="1729654"/>
            </a:xfrm>
            <a:grpFill/>
          </p:grpSpPr>
          <p:sp>
            <p:nvSpPr>
              <p:cNvPr id="367" name="Oval 36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p:cNvGrpSpPr/>
            <p:nvPr/>
          </p:nvGrpSpPr>
          <p:grpSpPr>
            <a:xfrm rot="5400000">
              <a:off x="1055270" y="-30452"/>
              <a:ext cx="86591" cy="1729654"/>
              <a:chOff x="85292" y="59892"/>
              <a:chExt cx="86591" cy="1729654"/>
            </a:xfrm>
            <a:grpFill/>
          </p:grpSpPr>
          <p:sp>
            <p:nvSpPr>
              <p:cNvPr id="357" name="Oval 35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p:cNvGrpSpPr/>
            <p:nvPr/>
          </p:nvGrpSpPr>
          <p:grpSpPr>
            <a:xfrm rot="5400000">
              <a:off x="1055270" y="223441"/>
              <a:ext cx="86591" cy="1729654"/>
              <a:chOff x="85292" y="59892"/>
              <a:chExt cx="86591" cy="1729654"/>
            </a:xfrm>
            <a:grpFill/>
          </p:grpSpPr>
          <p:sp>
            <p:nvSpPr>
              <p:cNvPr id="347" name="Oval 346"/>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65" name="TextBox 64"/>
          <p:cNvSpPr txBox="1"/>
          <p:nvPr/>
        </p:nvSpPr>
        <p:spPr>
          <a:xfrm>
            <a:off x="1370974" y="1223744"/>
            <a:ext cx="8358526" cy="2676525"/>
          </a:xfrm>
          <a:prstGeom prst="rect">
            <a:avLst/>
          </a:prstGeom>
          <a:noFill/>
        </p:spPr>
        <p:txBody>
          <a:bodyPr wrap="square">
            <a:spAutoFit/>
          </a:bodyPr>
          <a:lstStyle/>
          <a:p>
            <a:pPr marL="285750" indent="-285750">
              <a:buFont typeface="Wingdings" panose="05000000000000000000" pitchFamily="2" charset="2"/>
              <a:buChar char="ü"/>
            </a:pPr>
            <a:r>
              <a:rPr lang="en-US" sz="2400" b="1" dirty="0">
                <a:ln>
                  <a:solidFill>
                    <a:schemeClr val="tx1"/>
                  </a:solidFill>
                </a:ln>
                <a:solidFill>
                  <a:schemeClr val="bg1"/>
                </a:solidFill>
              </a:rPr>
              <a:t>It uses the forward-backward algorithm to compute the expected counts of state transitions and observations, and iteratively updates the parameters until convergence is achieved.</a:t>
            </a:r>
          </a:p>
          <a:p>
            <a:pPr marL="285750" indent="-285750">
              <a:buFont typeface="Wingdings" panose="05000000000000000000" pitchFamily="2" charset="2"/>
              <a:buChar char="ü"/>
            </a:pPr>
            <a:endParaRPr lang="en-US" sz="2400" b="1" dirty="0">
              <a:ln>
                <a:solidFill>
                  <a:schemeClr val="tx1"/>
                </a:solidFill>
              </a:ln>
              <a:solidFill>
                <a:schemeClr val="bg1"/>
              </a:solidFill>
            </a:endParaRPr>
          </a:p>
          <a:p>
            <a:pPr marL="285750" indent="-285750">
              <a:buFont typeface="Wingdings" panose="05000000000000000000" pitchFamily="2" charset="2"/>
              <a:buChar char="ü"/>
            </a:pPr>
            <a:endParaRPr lang="en-US" sz="2400" b="1" dirty="0">
              <a:ln>
                <a:solidFill>
                  <a:schemeClr val="tx1"/>
                </a:solidFill>
              </a:ln>
              <a:solidFill>
                <a:schemeClr val="bg1"/>
              </a:solidFill>
            </a:endParaRPr>
          </a:p>
          <a:p>
            <a:pPr marL="285750" indent="-285750">
              <a:buFont typeface="Wingdings" panose="05000000000000000000" pitchFamily="2" charset="2"/>
              <a:buChar char="ü"/>
            </a:pPr>
            <a:endParaRPr lang="en-US" sz="2400" b="1" dirty="0">
              <a:ln>
                <a:solidFill>
                  <a:schemeClr val="tx1"/>
                </a:solidFill>
              </a:ln>
              <a:solidFill>
                <a:schemeClr val="bg1"/>
              </a:solidFill>
            </a:endParaRPr>
          </a:p>
        </p:txBody>
      </p:sp>
      <p:sp>
        <p:nvSpPr>
          <p:cNvPr id="66" name="Rectangle 65"/>
          <p:cNvSpPr/>
          <p:nvPr/>
        </p:nvSpPr>
        <p:spPr>
          <a:xfrm>
            <a:off x="877120" y="240020"/>
            <a:ext cx="4184543"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Conclus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99034-65FC-7CFF-00E7-5300F9046FA8}"/>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F0C5AC50-E0C0-3F6A-F5C3-131056837D6F}"/>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0FBFD2A4-21B1-54DE-AEA8-E7A700011962}"/>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D0336D61-ECA2-A719-0CEC-F150736FF7B7}"/>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D1DC98F0-6F91-B310-D92E-7C8B01F8F542}"/>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F03B305-B861-F7D8-B93D-F78509708409}"/>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7136DDAE-AB0C-BF2A-959F-A2990A6ACBAC}"/>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265C5041-D5B8-527A-2567-F002412A1A28}"/>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DF9BF792-A37E-11E4-D107-FE7B80DE603E}"/>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75B1EE59-D559-8D7C-75F2-81231BA1E8BB}"/>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FC4238F-2010-A8FA-EAE3-B710AE2B6EFC}"/>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A2A9A4D2-D31C-DC74-0BC5-C3ECB697802F}"/>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11</a:t>
            </a:r>
          </a:p>
        </p:txBody>
      </p:sp>
      <p:grpSp>
        <p:nvGrpSpPr>
          <p:cNvPr id="170" name="Group 169">
            <a:extLst>
              <a:ext uri="{FF2B5EF4-FFF2-40B4-BE49-F238E27FC236}">
                <a16:creationId xmlns:a16="http://schemas.microsoft.com/office/drawing/2014/main" id="{9564A26E-06EC-D33F-C51F-95420CE5020A}"/>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DCDB7F5F-E117-DB80-B333-85827E3C480C}"/>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2965BE34-8A14-325C-7FA7-B23E279E597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29D71B22-56C3-8EA8-48EE-15938BAF071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AFA9598E-35AC-B709-BF18-88C9755484A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F1435349-F75C-2D40-0755-B14D6E505E9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DA1A29D1-10E7-4A95-9450-2D9C19CC824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FEB57B77-4C16-A05C-B32D-BBC6673F668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8CA56CE4-4D2A-E8AF-9911-A3FB50D4CD8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8879508D-0711-964A-2578-984AA40915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382FB5C7-815F-8C0D-7C0E-9BB08E56007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E9C1935C-DD08-CACF-6486-AC6D762804B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B37EA592-2A9C-C074-C27C-9EBC31CF1CCE}"/>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487D5F1A-D0BE-8AF9-20E4-FE70B3F74E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5C7FE722-BB62-2BBA-5407-8AA32D5883E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F3D16E01-2625-575E-08C6-1162E6CDFB9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8668C394-6394-2DAC-5DBA-BA84DD605D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B8A39B7A-6D81-1A15-F290-9CAA78D640F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1FF37CE2-E0DF-4E57-FC74-52A214E53E3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4BA955FE-E712-842C-D716-79CD5061428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81893117-7912-A148-E4A0-F08696A611E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BE6367EB-5396-6CCE-88DE-EDA04C5A082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C35EFD29-DC4C-E08B-4C23-E5387F09C1A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46CE0221-7302-BEEB-B3A6-199E05D59C50}"/>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06D0FDE4-69C7-D782-A883-B9D00A86CD1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AF8F0770-3432-443E-F62E-75DD8A6B0ED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E668CEFD-2E75-466B-E1BF-2CAC14DC110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A8D39058-DCBB-3357-43BD-7A629091AC9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BC118EEB-F4AA-C89D-6407-82BC0E1DD0E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FDAADBB0-6BE8-F49B-F1FF-58CD4CD2D0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1D033E0E-F1C3-0B3A-D6A4-D1923E33706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E1FFAAB9-A5FD-A08C-214B-314E970680D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F8EA3597-3A81-CB9C-B2F1-78A50616A02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68EE31F0-0BC9-A7B4-2F41-9E7CAD40B4B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E461DDC1-41CA-3502-86AB-518297CDEF81}"/>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02EACF8A-8622-86DD-D68B-0B3C7A8D241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8516160A-3DCE-2C9A-39E8-1A2B77C9D1E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AD3D30B9-BA5F-97C5-B48A-FC6F56FF91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BC07BEB0-AF3F-D973-F92B-9EB17BE26BA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6DACEE62-DCC9-1B48-8FC5-852F5DD5614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2CD01A08-7715-0A49-B7E1-DE1150454E0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D9E97839-BEF9-C662-B86D-A9F43E30718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ECE31B40-C5F2-5422-1B67-E078B1C7679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5BE10C2D-A6AF-6F92-6093-7E675526D3C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EA19F59E-3270-7AB0-4C03-A9416B447B9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5F9DCA06-4B4E-5788-A624-1638D67684DE}"/>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DC535AE4-875F-FFF9-3F66-5E4B7EE0493E}"/>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60869BBB-F2EB-621B-3004-79056CF3B68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34B54A9D-8234-6F7F-3E57-CA73D55B2A2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8EAD2FB0-3109-7946-244F-E76438DB6F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B5F9DAFB-F5D7-6A47-DDC5-A86269F7C29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4787061A-39B6-2A95-4BE4-B35CBD68D1B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A54246D9-4892-AA45-3B44-B8284132AE8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36D5682E-7005-53C6-92E9-0B44350106B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AA4AF3F6-9DC0-6F99-AC53-812D45960F3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FBAAA560-E492-F502-63C3-502EE9408E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BB169E8A-90F0-2001-BDD1-FC1F56CA71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F857CFD4-545D-DBFA-A5B0-B34AF6122DE6}"/>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417C9730-FC23-BCA7-FCA4-E5073B358D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B834792D-2620-4032-7621-BE71C3302C1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3BDF3CCE-175F-0814-9D53-3B2A730CA9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3F26E710-CEC2-5F68-0A49-490AE11CA3C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26CC60FF-6618-AD1A-187F-D1BAFE64B9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A37AFA4A-2B67-D338-2E8B-BCF7C4FD1B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64FFA166-F885-ADF5-5CC3-0A5282E998A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F1F6BDD8-A8BA-FDA2-2706-050ADB4AA77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2515766F-A2FC-AE70-6010-ACAE3FEBD7A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75B2E06F-A91A-9EDA-BB39-F3A597E8803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5A828EDF-F456-5828-72C7-05F0921AC19E}"/>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D72958C8-8935-A7DA-012F-96432CF84A2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BB729C71-61A8-E500-904C-ECE89F81802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388CF545-D74E-6C75-250A-BA4A2561A12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AB976B63-B6EF-131C-7B7B-E4702831E2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64B11691-05F6-C7C9-393D-9DCF57A6130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85B67850-F1CF-F7F0-DF90-F3FA0F4D717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5986E542-FEEF-60E6-B91C-3634957BC33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3C6185F0-C5DC-1923-F1C7-91E024F2F99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A40B5AFA-EBD7-724C-1DFC-E39B9E1C3EE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170B37FC-9814-99F8-563C-D03B81CA20D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B0A1F2AD-5BCC-9F48-9FF3-064B17954F36}"/>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5ACC4764-54E7-507D-0A28-6FBBA9F931B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091A6DC9-E976-F843-B12B-BE9B075BB4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0E6F9F4E-2670-AB6A-0EBA-5415DAFE32C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F668C5D6-505F-3C63-1DA6-F501EF07851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59029229-2932-5080-2242-0124A3CF74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01BA3B33-94BA-52FA-F931-485FA996630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88F9E237-20BD-485F-BF62-40B09D74E19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9AB5B1E0-902D-D248-7B14-86049911D03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8737D84D-CD1E-0637-BD85-EA2539B0E3A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59585356-DEAF-0281-241B-D17F76336D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9F63EF83-2442-6449-CA5A-4265FC589D02}"/>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67B4020-55CD-0A41-839F-583EFDFD6E9F}"/>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20015BC5-5808-0C0B-DBB8-95FDEB6945C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0B2416CA-1686-DB89-FCB8-C81E57CCBF5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52BEA22F-BFA8-3859-1E75-6A257528B8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4B11638D-2A48-49C0-33B1-F80BD49C269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97AEA60B-1AEF-CBC3-086E-41538DD9C6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031F02BD-709F-D6B5-ACBD-997E895133E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DF227482-4854-1EC2-9EF6-12C7B7EEDB0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4DD10299-752F-F45F-0B6C-EDC905F9419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368AF7A6-5EE3-16EE-0958-024A7099A47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93E8B35A-7413-FAB8-3C6D-98FC1D1974C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3A0C3B00-ECEE-2C2E-EDD5-06BCD7FC47C6}"/>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34E32294-2360-E2B6-E9DC-6DB4B68302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0FC3F243-1EAF-F523-6085-BB898548E2D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772B3C5B-C21C-A4A0-1CDB-2BC4385B9CA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DF79F39C-98BD-704D-5797-0F16EABC083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95F1CDA3-48EA-95FC-F3E1-431FC56CD87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405721D4-C4CD-192C-BAAC-E6217CA1ABE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D0BC2D62-2396-53D9-1A4C-DCCCD2F1CF6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CD1961BD-7E8A-0BF6-526F-4D4E8221635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636788E3-6810-D4F0-5075-A2D44C2044D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A71EEEF5-7657-544C-272D-79C59CBB113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68C217F3-6158-E255-EF7C-22BA967CAE1F}"/>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415F8381-E718-77CA-E557-F0D6B7B70F3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B8EEE600-C93D-D8DA-B116-8EFAF08E75B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4CDA0E6A-DD2D-EA5E-19C7-8E7F5365BC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C19B95D7-9E8D-6F3C-B5C7-C53474A75F5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DD346685-C6EB-1EB3-CDFA-7D82777CDB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C1BD861D-859C-3C73-25E0-281AF0F4A8A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DC18005E-7B1B-7F41-C276-31FBCE11F9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77CC0D59-C935-B1F4-09A2-68C68406529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B6770914-4797-2B95-B6C4-CFB7636D214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F0FD124D-A7CF-C8FC-E4DE-135CA51D8E2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0DCB4048-B30F-5897-08A8-9501A46BCF57}"/>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6C240B5E-8158-39B0-DC54-3E9A4BA40A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B03DE124-3A8F-7F08-1C40-BC76B7FD7CD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2F0DC952-54B3-66D4-2842-8F138321F21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4520BCE9-228B-9C9D-49A5-DCCAE939A7E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20F9E75C-8DCA-22B8-1A5A-63076886840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8E57CE59-D2BE-EFF5-7BBB-2DE9135A06C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857EF91C-F2A1-EC3B-6321-A3045B9461B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C65B33C6-5A5A-9C8A-3CCA-59A2A8339DE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715A4B32-DD78-7043-CC29-127A8FFD6D1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29735C45-C350-41A7-FE50-23469B43AD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0DE3F699-CA9A-B4B4-A068-2307524DE9F1}"/>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F32A3863-3A22-F84E-F7B9-730907B15CF1}"/>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187FA815-169C-FAEF-5E92-5076566F53C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509606A9-D5EC-AB24-2E72-6D232E8FE73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02C5F843-2D92-8D69-CDDD-6CE2E407C14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A12BEA56-AE7B-F50F-0B11-8DD2C2CFE10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75832723-0F16-685A-4449-9FEF2D5E057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2A65F2F8-B059-F25D-E23E-DE27E05203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F4F70B6B-1FB1-71C1-3A4D-09A932E89C3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B332F7BA-AB25-63B1-06B3-EB2E469D146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02E7B169-6EFE-730A-AB75-D2B3EA9C3EA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F9759C7E-82A9-D933-CA0E-E635E80FE2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2E2FAA2E-BB6E-E315-5CFD-D9222B8AE041}"/>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DF491E99-336F-0BD5-A727-4911C53E798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060B6C41-8973-502A-71DE-06AAB958149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3F68E66F-C36E-14A6-20AE-869306D7DC9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7D577561-E755-B841-F864-8ADC8C54E0E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848B78B7-B869-BBDF-D10E-D9B5F288391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6F99BDFA-B1EC-3B37-666D-CA67BE90C49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A24D30AF-3785-CDFC-01A3-14914644337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FD56F4A3-EFBA-FF2F-7F7A-B4C0391DFCB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71463000-0F09-52B0-C860-0697FD5E565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884FE578-A11B-1ACC-FB3F-54E31D83E60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91483CEA-72F1-FDD1-5303-B21FBF898224}"/>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3BB97934-A0FD-C82C-B8AE-E43099C4198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85503034-2372-C4D1-2C3C-BD18419A096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BD0CBAEE-93C4-F0A1-390D-AAA5C066F13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25600B25-DA96-E9D0-3FD6-2B7C0E04DD7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7E31C220-81CB-32D9-CDC2-C2B2FFFF8F6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6C431C9B-CF5A-5C00-EA8F-33997542660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51AF779C-49C8-E75B-8235-C8121C8DEF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E3B98272-B855-AB9A-6D33-59D493494A5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0FA3F893-353E-72B6-3B10-E4B788516FD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4C157B22-81C6-3092-370A-564142C89A1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8395EBD9-3B50-1B39-25CF-A5B51307C4FC}"/>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971A2122-323A-3C47-22E7-B789BF47CE6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D7C903B-73EC-BAA4-8D8C-13D10410F44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E6D9A1EC-6C99-8CC5-4BA1-CE9FB1B4BDC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E65BF6E2-E93F-DC86-A028-ECC93C8DAAA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6706CF5E-57A6-65A5-05DF-36F538B3213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A217BAEE-EF25-EC0A-FF8C-8535A78B3E6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2B7F39F9-60EF-BF4B-2E7E-91CDB9766C6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A55B22CF-2AC1-F1F5-5ADC-F66ACAB4F90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ACF064A6-68D9-8894-74D1-F7EEE5F687D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5E5492B1-E8B2-AC97-5A19-1E14534D47B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AD2574F2-0529-3039-E499-38754A630000}"/>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20614DE2-3029-BF4F-5872-2D3939BB522A}"/>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A69762A3-E1BD-7F77-F237-A88C4FC914BE}"/>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D46C1CE0-0027-6BAA-0763-C6EC1B4256A4}"/>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0D8C8396-AA0B-83BE-049A-326D4C726E77}"/>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8C1A75E2-0988-465C-9D79-F247B9B047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8071C218-8215-82EF-7FAC-AF73564631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926712C2-70B3-A10D-6734-24ABC94CF57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54C24197-4C33-5A21-BEB0-D0D9810C9B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B59381B2-D462-158B-1EE0-F0B9BDCB30D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98C1D37C-6EA2-D2E1-1ED6-642C9CAE3A0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E7DD435B-46E9-4935-A463-8A6FBCC3D1F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51BBC225-B821-F01B-1684-255E5C67C78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2C120376-DC87-1FA1-DE52-05925BE1840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46DAA8E9-2FC1-73F1-578C-7BAAA822ED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5F7A48C2-79E6-4DBF-EBD2-2557B186393A}"/>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1BB5923C-AD2D-0BE9-9F25-390B6D35169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75AE47FA-9A6E-E886-4187-A29837406D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1246BA59-EDC3-F026-FE19-F0FDAC2AB3F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5E94428F-06C7-DC0E-991D-45F438ACE38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43280BF8-56C3-B64C-9E27-3ED501A1CE6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8F4319B0-C506-EB2A-F01F-F0E044C5EDA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CDF60465-3455-5139-088B-4BAB8B6FDB3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9531D147-875B-E479-3CDF-6C5A9AEE5C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6B81B264-A73F-4967-ECC2-A57260DB98E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80CB5A6E-69CC-3982-CE9C-84AA637020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3AA6B015-7EEE-393C-CFD3-93C4ADE0CBEB}"/>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F80F7A7D-E443-30C5-8917-575A99FC465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ED1680E4-5321-6FB3-8976-EE2DF5737BF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DDCC7202-D594-7797-02FB-411F12B9CCA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E15E1F4D-D87C-415E-39B4-A835EE4F9E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5131B1CE-553B-5E7B-D400-2E2F878030A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EBAB39EC-A4FF-FD20-8945-5FC9C63F8E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AF372371-8D78-3B5E-DDB0-A6282AB57B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8F40409F-2BE4-8F15-CC47-05F6376E018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DF4BFA0C-19AA-3461-C72F-8C32DB49D62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BD18B23A-B60E-846E-0383-939BDDC3155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5D95F610-76CA-7DAC-E594-BEA9BC4AA5B3}"/>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D50FBCD7-1D21-277F-10CD-FF9A2273ADF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AC3124C6-E1C3-5376-00E8-C489C50A7D9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BAACC75A-B6D2-9100-8313-979418A0E5E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35A91051-E1DD-F40A-4B73-64643803A6B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80B528DA-3DF8-943E-D4EA-5C3997E53BC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7BFED7AD-27C1-B506-E48D-C6BA5476116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6006B041-23C8-6B9E-064E-F9493778231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A6E97344-29C7-33B7-21D1-9B448205148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C32F31A9-739A-083D-7797-D50E2634AEA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60922D47-403C-102F-51E8-CD8C7D4DC14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 name="TextBox 12">
            <a:extLst>
              <a:ext uri="{FF2B5EF4-FFF2-40B4-BE49-F238E27FC236}">
                <a16:creationId xmlns:a16="http://schemas.microsoft.com/office/drawing/2014/main" id="{FF8973AD-05F9-F059-39A5-2A043014EF8F}"/>
              </a:ext>
            </a:extLst>
          </p:cNvPr>
          <p:cNvSpPr txBox="1"/>
          <p:nvPr/>
        </p:nvSpPr>
        <p:spPr>
          <a:xfrm>
            <a:off x="4284040" y="5222010"/>
            <a:ext cx="7521558" cy="830997"/>
          </a:xfrm>
          <a:prstGeom prst="rect">
            <a:avLst/>
          </a:prstGeom>
          <a:noFill/>
        </p:spPr>
        <p:txBody>
          <a:bodyPr wrap="square">
            <a:spAutoFit/>
          </a:bodyPr>
          <a:lstStyle/>
          <a:p>
            <a:r>
              <a:rPr lang="en-US" sz="4800"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References</a:t>
            </a:r>
          </a:p>
        </p:txBody>
      </p:sp>
    </p:spTree>
    <p:extLst>
      <p:ext uri="{BB962C8B-B14F-4D97-AF65-F5344CB8AC3E}">
        <p14:creationId xmlns:p14="http://schemas.microsoft.com/office/powerpoint/2010/main" val="144631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761E4-B820-B4F9-D17D-63E440215F66}"/>
            </a:ext>
          </a:extLst>
        </p:cNvPr>
        <p:cNvGrpSpPr/>
        <p:nvPr/>
      </p:nvGrpSpPr>
      <p:grpSpPr>
        <a:xfrm>
          <a:off x="0" y="0"/>
          <a:ext cx="0" cy="0"/>
          <a:chOff x="0" y="0"/>
          <a:chExt cx="0" cy="0"/>
        </a:xfrm>
      </p:grpSpPr>
      <p:pic>
        <p:nvPicPr>
          <p:cNvPr id="226" name="Picture 225">
            <a:extLst>
              <a:ext uri="{FF2B5EF4-FFF2-40B4-BE49-F238E27FC236}">
                <a16:creationId xmlns:a16="http://schemas.microsoft.com/office/drawing/2014/main" id="{061A3B94-B4EB-0EAD-4910-38741EACD5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216"/>
            <a:ext cx="12192000" cy="6865212"/>
          </a:xfrm>
          <a:prstGeom prst="rect">
            <a:avLst/>
          </a:prstGeom>
        </p:spPr>
      </p:pic>
      <p:graphicFrame>
        <p:nvGraphicFramePr>
          <p:cNvPr id="104" name="Object 103" hidden="1">
            <a:extLst>
              <a:ext uri="{FF2B5EF4-FFF2-40B4-BE49-F238E27FC236}">
                <a16:creationId xmlns:a16="http://schemas.microsoft.com/office/drawing/2014/main" id="{34B9F62C-65CB-DE1A-77CB-82A21B4D164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4" name="Object 103" hidden="1">
                        <a:extLst>
                          <a:ext uri="{FF2B5EF4-FFF2-40B4-BE49-F238E27FC236}">
                            <a16:creationId xmlns:a16="http://schemas.microsoft.com/office/drawing/2014/main" id="{BC7EF0BD-5144-9EF2-1528-56F536777D6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F7B7131-1433-6F29-F85B-563660683448}"/>
              </a:ext>
            </a:extLst>
          </p:cNvPr>
          <p:cNvSpPr/>
          <p:nvPr/>
        </p:nvSpPr>
        <p:spPr>
          <a:xfrm>
            <a:off x="0" y="-23764"/>
            <a:ext cx="12191999"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DBD8BA08-3FFA-C52F-C9BF-907E92E0DF6B}"/>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91A60C85-9DAF-6E24-4D2A-1609123FCC2F}"/>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4EB8A29A-D587-88C0-10C0-262D5F166947}"/>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Oval 224">
            <a:extLst>
              <a:ext uri="{FF2B5EF4-FFF2-40B4-BE49-F238E27FC236}">
                <a16:creationId xmlns:a16="http://schemas.microsoft.com/office/drawing/2014/main" id="{36564253-8CDC-8175-EA22-F15CAF277AE5}"/>
              </a:ext>
            </a:extLst>
          </p:cNvPr>
          <p:cNvSpPr/>
          <p:nvPr/>
        </p:nvSpPr>
        <p:spPr>
          <a:xfrm>
            <a:off x="1686226" y="5590698"/>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3058442A-4D62-41C3-B803-2C9825BB2C3C}"/>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880E8F6A-92C0-BE0A-4A19-AD9949F14AB4}"/>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03BE678F-E1F6-6FC1-CF8A-EF6D7A8ACA83}"/>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039E7575-FCC4-84BA-A09B-47789E9888F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EF4B447A-7AF6-9AAE-EEC1-50B695BBC4C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5AC92FD1-C65F-4851-3D0E-AF8D2B8B0D1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E0EDE512-9B93-756E-65EA-DDDEC4F6458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855CE154-250C-9F6E-C71E-BF3BA83CA6D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A9C9DC64-6524-A670-3BE1-595ED06B8A7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10485AE3-B28A-45D1-BCCB-6DF79AA4A37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1E6511E0-EE0C-5A4D-F40A-D646C067272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A6B32053-C6CE-3CE4-93E1-481183978AD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2DA1F091-88D3-D126-D7E2-C1E0171550C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a:extLst>
                <a:ext uri="{FF2B5EF4-FFF2-40B4-BE49-F238E27FC236}">
                  <a16:creationId xmlns:a16="http://schemas.microsoft.com/office/drawing/2014/main" id="{7F3770F1-CE17-5127-33EA-FD67E054E3F4}"/>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EA575F89-AD57-9372-C334-713E76618E3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B150F31E-D07F-4EF5-D27F-64077EA60E8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EFC1CEAF-6C24-9A76-FEB4-2F0235D547A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93FCFC34-546D-6B50-35ED-17F921783B7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D2A66B1A-F0F0-2012-A266-D97AA594CE6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0D7092D9-07B7-45E0-82F9-8D0E644FFA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DB7DFD49-F8E8-113E-409C-BDC4421F8D9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D0F2F98B-2D17-EAB6-3454-6511474BBD5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C4863D43-E2AF-7EAB-E662-218D46B9819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526527C6-C550-0042-27A5-A1D805A1965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F29D9B03-D653-2641-506F-59C1CB2D8C72}"/>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865E0B43-1C0A-6BA6-D127-746ABF16809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1DA6086-ABC0-5816-2842-C5B66594145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D99CA9E0-A253-2921-6C5E-BE482601F65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33D6F9F3-022C-A88C-C9C7-F7CD0AF8E6D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8749288D-D875-3E61-B7FB-BE8CE9C427A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3786DA4A-632E-D05E-0720-4A2B61B1240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4EDB63D2-7727-754F-E564-D8CC0B88F0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27687BB9-B308-7977-05ED-4DDA9B561A2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8EFDC546-C869-D670-08DC-FEEE42EE1DD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492E364F-8868-DA53-F7CD-1D95FE0F96F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D38859A9-7AA9-9953-D750-4A5425DC240E}"/>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07D37508-7884-2D84-EDAF-16018F8BC2D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7853787A-79FA-39D9-BA43-841A60BDBF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D5974A4D-213C-B7E6-1C77-1F671FC54FE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BEB2B869-9AEB-AE82-4292-2805A387DDC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B1673354-7EFA-9FC7-1A57-41ED36EA05C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FE542EF4-0481-33E2-9CC2-2A13E311111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303A2611-49B0-BF1F-A983-23A1BE3353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BEA758A5-C325-14B8-E5B2-876939BBDBC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EE6A067B-1798-5C5C-E437-B9D9964EE3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CB1E5C9E-35C9-9718-42B7-0D2C445A0CA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36" name="Group 235">
            <a:extLst>
              <a:ext uri="{FF2B5EF4-FFF2-40B4-BE49-F238E27FC236}">
                <a16:creationId xmlns:a16="http://schemas.microsoft.com/office/drawing/2014/main" id="{FADD4092-7465-1E9C-7242-635E57273971}"/>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1D17101A-8B02-12B2-C09E-81629AEA12ED}"/>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B8343375-6917-05C9-5FD6-67F905FC978F}"/>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035CCA15-5D25-A13E-3805-94115B19A363}"/>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C1E35BE-D2A5-3CA1-DF92-D0CEF56C6C52}"/>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95F9CF11-72C4-A8DB-9F29-E940CB1D43A2}"/>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A7C608C8-1F57-7CCB-3CF4-BED5FB9B3B2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09ACAFFA-00E7-2B15-CD04-2DE86AABAE2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1CE46BD7-5885-DE38-473D-BF75BC06A51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685B2349-7F9B-0297-404D-023E5B40EF6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16C77F6D-0F4C-78A2-C6F4-53A6DC770E9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6F198714-89AC-B3BE-E0E4-B326DA9651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a:extLst>
                  <a:ext uri="{FF2B5EF4-FFF2-40B4-BE49-F238E27FC236}">
                    <a16:creationId xmlns:a16="http://schemas.microsoft.com/office/drawing/2014/main" id="{07EF9916-1576-78E0-E4AC-AAAA057196F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Oval 293">
                <a:extLst>
                  <a:ext uri="{FF2B5EF4-FFF2-40B4-BE49-F238E27FC236}">
                    <a16:creationId xmlns:a16="http://schemas.microsoft.com/office/drawing/2014/main" id="{0C0C0564-040A-EEE5-274F-0ED043C8420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Oval 294">
                <a:extLst>
                  <a:ext uri="{FF2B5EF4-FFF2-40B4-BE49-F238E27FC236}">
                    <a16:creationId xmlns:a16="http://schemas.microsoft.com/office/drawing/2014/main" id="{22AC07E4-F54A-67E6-FE98-A67B0865F0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Oval 295">
                <a:extLst>
                  <a:ext uri="{FF2B5EF4-FFF2-40B4-BE49-F238E27FC236}">
                    <a16:creationId xmlns:a16="http://schemas.microsoft.com/office/drawing/2014/main" id="{F60BD913-7D44-9A63-D3B3-DDDCF173DE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3" name="Group 112">
              <a:extLst>
                <a:ext uri="{FF2B5EF4-FFF2-40B4-BE49-F238E27FC236}">
                  <a16:creationId xmlns:a16="http://schemas.microsoft.com/office/drawing/2014/main" id="{BC057860-C5A2-5A23-1D08-6B7A9FB973C0}"/>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77C21385-88FC-1787-85A5-9D05A9FC76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2FF520E9-AEFD-D2D5-4020-8BE86B1C15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B929698E-6A51-5C86-3402-E6419254108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F53CDB32-03C7-2F09-0C2E-79CA46F9F62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C200F374-8B71-7963-89DA-F3E9EE746E3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26883CE8-DD73-3358-A955-2866F4D360E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97E0C57B-4B89-76A7-0666-E7F0B3CFA43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170037F3-0865-3CD5-543C-3436D2E29F2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C225424E-D662-1E9F-D2C5-63340C12CC8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B2F45913-5235-5215-E251-F5060E0B093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4" name="Group 113">
              <a:extLst>
                <a:ext uri="{FF2B5EF4-FFF2-40B4-BE49-F238E27FC236}">
                  <a16:creationId xmlns:a16="http://schemas.microsoft.com/office/drawing/2014/main" id="{10965031-271C-ED10-F918-6F71E1E7F317}"/>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6A93393A-7DF4-7A24-5F21-C050C648DD6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6EE423F9-4F7C-A769-0240-68DCFD0F7DC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91">
                <a:extLst>
                  <a:ext uri="{FF2B5EF4-FFF2-40B4-BE49-F238E27FC236}">
                    <a16:creationId xmlns:a16="http://schemas.microsoft.com/office/drawing/2014/main" id="{8309C72A-057C-BCED-15CA-49FEE63E1D9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92">
                <a:extLst>
                  <a:ext uri="{FF2B5EF4-FFF2-40B4-BE49-F238E27FC236}">
                    <a16:creationId xmlns:a16="http://schemas.microsoft.com/office/drawing/2014/main" id="{9754A4E3-B602-A383-7B81-8F2BF69ECA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93">
                <a:extLst>
                  <a:ext uri="{FF2B5EF4-FFF2-40B4-BE49-F238E27FC236}">
                    <a16:creationId xmlns:a16="http://schemas.microsoft.com/office/drawing/2014/main" id="{5E94FC5D-7E60-2920-4535-986C0023ADB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Oval 194">
                <a:extLst>
                  <a:ext uri="{FF2B5EF4-FFF2-40B4-BE49-F238E27FC236}">
                    <a16:creationId xmlns:a16="http://schemas.microsoft.com/office/drawing/2014/main" id="{9A661EF4-85F3-00AE-569E-ED5445275E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32A191BB-5ED9-9AAB-86EC-FF756BCED81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1EFA51E5-2652-AE6E-6406-2D1CE152B2C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C29EA74E-3E56-83B2-608C-EA5CB5A7804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C0795C02-A66D-99A7-823D-EE09DBA8F64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3E328FBB-F3BE-1465-9BC4-3D32DDD1A0EC}"/>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6735E0ED-E964-15B3-4EA2-A1BFD57013A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7A5E04B9-2029-03A0-1A79-5F3D9D9E1AD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DDC49E13-1CDD-1534-8DBC-10BB36353BE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3E16AED9-56AD-B8B9-140E-42636EE701B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BBA33A64-8656-6B80-D9BF-602845CC5CA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55C8919F-1AB3-90AE-77A5-5A1052F2AC2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Oval 121">
                <a:extLst>
                  <a:ext uri="{FF2B5EF4-FFF2-40B4-BE49-F238E27FC236}">
                    <a16:creationId xmlns:a16="http://schemas.microsoft.com/office/drawing/2014/main" id="{DCF4ED06-0C8D-64C5-9187-7E37CB33A76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B3601FA8-E320-A0AC-1ECF-10345D4449D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DD3F2A16-98DA-D4AD-3E6D-7F38046DCEF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4DAC9633-7AD5-ED61-721F-5B96684F07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7" name="Group 296">
            <a:extLst>
              <a:ext uri="{FF2B5EF4-FFF2-40B4-BE49-F238E27FC236}">
                <a16:creationId xmlns:a16="http://schemas.microsoft.com/office/drawing/2014/main" id="{B32BA8E5-55B4-8283-F468-15342E20B607}"/>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31D9E205-C786-735A-1FBF-EE075E0A97B7}"/>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4C7D96F0-8A6E-C7E2-326B-131CAD4CC39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A1E64732-0407-8940-CD9B-9B2B20EFA1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3EBDAD63-CA85-FD01-1D76-3444564274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A9A76435-5234-23C5-EC7B-F73034D1D5C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9E19880C-C4B2-00F3-DA97-8FE1C4830E2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5ADEC522-3AD7-63AF-C539-644B9B7A592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Oval 337">
                <a:extLst>
                  <a:ext uri="{FF2B5EF4-FFF2-40B4-BE49-F238E27FC236}">
                    <a16:creationId xmlns:a16="http://schemas.microsoft.com/office/drawing/2014/main" id="{98328AAF-BD7C-B389-68B5-5B3DC0A8FAB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Oval 338">
                <a:extLst>
                  <a:ext uri="{FF2B5EF4-FFF2-40B4-BE49-F238E27FC236}">
                    <a16:creationId xmlns:a16="http://schemas.microsoft.com/office/drawing/2014/main" id="{C62E589B-FC58-BEA8-9292-771BF023E67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Oval 339">
                <a:extLst>
                  <a:ext uri="{FF2B5EF4-FFF2-40B4-BE49-F238E27FC236}">
                    <a16:creationId xmlns:a16="http://schemas.microsoft.com/office/drawing/2014/main" id="{EF551F27-64AB-1911-3999-FFCF58B0B3C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Oval 340">
                <a:extLst>
                  <a:ext uri="{FF2B5EF4-FFF2-40B4-BE49-F238E27FC236}">
                    <a16:creationId xmlns:a16="http://schemas.microsoft.com/office/drawing/2014/main" id="{A20E96AD-B508-6138-523E-DD622CBCE0B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9" name="Group 298">
              <a:extLst>
                <a:ext uri="{FF2B5EF4-FFF2-40B4-BE49-F238E27FC236}">
                  <a16:creationId xmlns:a16="http://schemas.microsoft.com/office/drawing/2014/main" id="{6C03D194-664D-ACCF-6F9D-FCCA143068E5}"/>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A0DD1F56-C181-DF41-2340-6509DA903D0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7B2862CC-3840-7427-971A-19C9CB58B6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112F4E91-FB62-034C-6365-D4D576380B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41838DAB-B446-62DD-3CB5-BD9A4F4D85B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0B135357-8A82-B56B-C54B-E8FEB98313B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47D70AAF-36A3-192D-E28E-181D2493BC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Oval 327">
                <a:extLst>
                  <a:ext uri="{FF2B5EF4-FFF2-40B4-BE49-F238E27FC236}">
                    <a16:creationId xmlns:a16="http://schemas.microsoft.com/office/drawing/2014/main" id="{5A61F812-CD90-53A8-DB64-1A85200D42C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7BD71A04-9E1C-DA0F-A74D-348AA5F7F62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1D09B3AE-A475-1466-33F1-EDA0544FD0A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0B3E7F2C-F7FA-8C46-70F3-C42AA2B098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0" name="Group 299">
              <a:extLst>
                <a:ext uri="{FF2B5EF4-FFF2-40B4-BE49-F238E27FC236}">
                  <a16:creationId xmlns:a16="http://schemas.microsoft.com/office/drawing/2014/main" id="{5181D238-B434-0167-63FF-60DB9A9C2823}"/>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389CA934-0C35-776E-1B8E-B86A4B47FE3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DE3CFAF1-4EC0-0CAE-7257-0BC8FA50DCD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031E1E39-491D-B1D2-B843-CF4656121E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7A6AA394-AF65-337F-6F57-7CF6F47AA24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65F4DD87-D080-0072-A855-2B65FFDFD84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44057003-CB6F-F8FF-D7FB-05D7EFBF0D9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Oval 317">
                <a:extLst>
                  <a:ext uri="{FF2B5EF4-FFF2-40B4-BE49-F238E27FC236}">
                    <a16:creationId xmlns:a16="http://schemas.microsoft.com/office/drawing/2014/main" id="{F0EC5B15-8683-88E9-53BA-EA74BBBF723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34B4E835-4573-43C4-4CE5-B2880F1C09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D7771BF6-F48F-824A-B8D2-169FD6BC806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0F08544A-77F7-15FA-172D-D52546FD018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1" name="Group 300">
              <a:extLst>
                <a:ext uri="{FF2B5EF4-FFF2-40B4-BE49-F238E27FC236}">
                  <a16:creationId xmlns:a16="http://schemas.microsoft.com/office/drawing/2014/main" id="{3368E295-D089-3198-FF51-65999C19BB0D}"/>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3A402DE8-CF2A-7C89-522D-3C298D6A4C5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9356B6C4-8D39-4889-846F-A211015EC3D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4A11423E-F597-BA7B-F315-B4D12EA4CA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F549547D-9C37-53F8-22F8-6E4D8635941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04703875-1049-8F06-CCE7-9F1B093D277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579A211D-F365-007C-A17B-8380ECB4813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Oval 307">
                <a:extLst>
                  <a:ext uri="{FF2B5EF4-FFF2-40B4-BE49-F238E27FC236}">
                    <a16:creationId xmlns:a16="http://schemas.microsoft.com/office/drawing/2014/main" id="{449A7765-9F38-2A9F-FDE4-D65DB62145A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B0EAAA22-1328-A869-E679-CB418F2AC36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37547EED-F216-F3AA-A649-EB1B261E46A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4A17FC6C-804B-51A8-14CE-E71CDB7AA2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42" name="Group 341">
            <a:extLst>
              <a:ext uri="{FF2B5EF4-FFF2-40B4-BE49-F238E27FC236}">
                <a16:creationId xmlns:a16="http://schemas.microsoft.com/office/drawing/2014/main" id="{E656F80E-8B58-AD25-3517-B9387BB76C14}"/>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E6E42684-0A84-CA38-607D-F29A73F6F9BE}"/>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8C2F3DE9-9DDB-25BB-9008-BA9AFDD1DFC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7419971C-A10D-6980-E44D-3FF986B2E13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4FFB5DC7-6AB1-BD31-2808-B55BD8EE932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500E70F5-B9B3-A23A-E677-BB2814E4F3D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865BB418-CF2A-5E4B-8965-E11F308CA0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A63B50A3-0A10-84A1-8E31-BCF5E173213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3" name="Oval 382">
                <a:extLst>
                  <a:ext uri="{FF2B5EF4-FFF2-40B4-BE49-F238E27FC236}">
                    <a16:creationId xmlns:a16="http://schemas.microsoft.com/office/drawing/2014/main" id="{68AF2055-8741-1914-9575-C26C0E9A008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4" name="Oval 383">
                <a:extLst>
                  <a:ext uri="{FF2B5EF4-FFF2-40B4-BE49-F238E27FC236}">
                    <a16:creationId xmlns:a16="http://schemas.microsoft.com/office/drawing/2014/main" id="{94B72A85-5226-96EC-1788-7C3A7E71B1E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5" name="Oval 384">
                <a:extLst>
                  <a:ext uri="{FF2B5EF4-FFF2-40B4-BE49-F238E27FC236}">
                    <a16:creationId xmlns:a16="http://schemas.microsoft.com/office/drawing/2014/main" id="{E4F4A6B5-16BC-1238-400D-79CAB1A3489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 name="Oval 385">
                <a:extLst>
                  <a:ext uri="{FF2B5EF4-FFF2-40B4-BE49-F238E27FC236}">
                    <a16:creationId xmlns:a16="http://schemas.microsoft.com/office/drawing/2014/main" id="{A15F69BA-AF89-3A77-5DD7-8D94C6DAD4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4" name="Group 343">
              <a:extLst>
                <a:ext uri="{FF2B5EF4-FFF2-40B4-BE49-F238E27FC236}">
                  <a16:creationId xmlns:a16="http://schemas.microsoft.com/office/drawing/2014/main" id="{C6DD7E91-D121-B09C-7D5C-350F77A0568C}"/>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3ECF26CC-8A39-BD75-6FC2-7DFDF74DD68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7B734DF9-1098-4AB7-F66C-211D2C85610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2464E3A3-EB87-D1B2-B8EA-B2D9E60833D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181FDDC1-A874-634F-C883-42E251085B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DCCACB71-8A55-4585-9B7B-F27FD4B811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C300CED9-5D34-7E74-12D3-887E1B31319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Oval 372">
                <a:extLst>
                  <a:ext uri="{FF2B5EF4-FFF2-40B4-BE49-F238E27FC236}">
                    <a16:creationId xmlns:a16="http://schemas.microsoft.com/office/drawing/2014/main" id="{3D41519C-0829-0ADC-401A-05F6BE98584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E1351A14-7364-6376-1D83-C342A22345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5972BEA9-8724-69E5-A276-4EC5AAF2D53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292DC2E4-1A4E-16B7-7FD8-71ADCF4E692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5" name="Group 344">
              <a:extLst>
                <a:ext uri="{FF2B5EF4-FFF2-40B4-BE49-F238E27FC236}">
                  <a16:creationId xmlns:a16="http://schemas.microsoft.com/office/drawing/2014/main" id="{8AB45207-4F38-FE01-EF88-F3C39A24B861}"/>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E571F11B-01C2-FBA2-EBAC-5F45D82560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DE0C8E8A-7CB2-B3F4-4B40-F4AA6ED121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C494F51A-5A26-3015-8816-12A6A51C30A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2351CD43-C9B1-FA1A-B192-1BBDB33C6DE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70ED326C-41B2-6EED-992B-AF9E331A63E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0A0C10EB-A9AC-201D-0AEA-CF0DC501A78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Oval 362">
                <a:extLst>
                  <a:ext uri="{FF2B5EF4-FFF2-40B4-BE49-F238E27FC236}">
                    <a16:creationId xmlns:a16="http://schemas.microsoft.com/office/drawing/2014/main" id="{4282FA70-9CBA-0BC0-58EE-B2E7A6814F4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BE0E8A23-9F05-3B24-1BDC-B35C0FDFADE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36849C2E-0D9B-E743-D8D2-32C7397DE21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C3AB8FB0-6B1D-27A8-8A5D-2B1C87B147E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CB926670-298B-008D-41D0-32D81F8C8316}"/>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BBA32CED-B420-FDF5-188F-07BD8F79B1F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007CAF92-C34B-E6D0-A3D9-B78DA63E08B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6E678A15-9D3B-F5D8-B86E-A674ECEEAC1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7E8535A1-52C9-950D-E0CA-C1FDF150269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AFD1770B-07A3-2381-C0C7-5573711323E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ED7F717F-D6CA-5D66-80FF-CFE7B48676F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3" name="Oval 352">
                <a:extLst>
                  <a:ext uri="{FF2B5EF4-FFF2-40B4-BE49-F238E27FC236}">
                    <a16:creationId xmlns:a16="http://schemas.microsoft.com/office/drawing/2014/main" id="{C260A0D6-03C4-DEF6-8123-65A07A8370A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816B7C6D-CF17-FA87-AB2F-6546CEEBEC7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5B82B71E-D9D4-D33F-B7EF-3D138FD0AAC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4F9AF134-4640-8270-3985-247DDFB0DE3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62" name="Rectangle 61">
            <a:extLst>
              <a:ext uri="{FF2B5EF4-FFF2-40B4-BE49-F238E27FC236}">
                <a16:creationId xmlns:a16="http://schemas.microsoft.com/office/drawing/2014/main" id="{88299019-5678-AD27-E5A9-1503128A7770}"/>
              </a:ext>
            </a:extLst>
          </p:cNvPr>
          <p:cNvSpPr/>
          <p:nvPr/>
        </p:nvSpPr>
        <p:spPr>
          <a:xfrm>
            <a:off x="857841" y="240020"/>
            <a:ext cx="4251228"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References:</a:t>
            </a:r>
          </a:p>
        </p:txBody>
      </p:sp>
      <p:sp>
        <p:nvSpPr>
          <p:cNvPr id="224" name="TextBox 223">
            <a:extLst>
              <a:ext uri="{FF2B5EF4-FFF2-40B4-BE49-F238E27FC236}">
                <a16:creationId xmlns:a16="http://schemas.microsoft.com/office/drawing/2014/main" id="{6604B99A-1368-CC6E-52D6-011C0430E535}"/>
              </a:ext>
            </a:extLst>
          </p:cNvPr>
          <p:cNvSpPr txBox="1"/>
          <p:nvPr/>
        </p:nvSpPr>
        <p:spPr>
          <a:xfrm>
            <a:off x="1612068" y="933852"/>
            <a:ext cx="8358526" cy="5324535"/>
          </a:xfrm>
          <a:prstGeom prst="rect">
            <a:avLst/>
          </a:prstGeom>
          <a:noFill/>
        </p:spPr>
        <p:txBody>
          <a:bodyPr wrap="square">
            <a:spAutoFit/>
          </a:bodyPr>
          <a:lstStyle/>
          <a:p>
            <a:pPr marL="285750" indent="-285750">
              <a:buFont typeface="Wingdings" panose="05000000000000000000" pitchFamily="2" charset="2"/>
              <a:buChar char="ü"/>
            </a:pPr>
            <a:r>
              <a:rPr lang="en-US" sz="2000" b="1" u="sng" dirty="0">
                <a:solidFill>
                  <a:schemeClr val="bg1"/>
                </a:solidFill>
                <a:hlinkClick r:id="rId8"/>
              </a:rPr>
              <a:t>https://isip.piconepress.com/courses/msstate/ece_8463/projects/2000_spring/final_paper/baum_welch_v0.pdf</a:t>
            </a: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a:p>
            <a:pPr marL="285750" indent="-285750">
              <a:buFont typeface="Wingdings" panose="05000000000000000000" pitchFamily="2" charset="2"/>
              <a:buChar char="ü"/>
            </a:pPr>
            <a:r>
              <a:rPr lang="en-US" sz="2000" b="1" u="sng" dirty="0">
                <a:solidFill>
                  <a:schemeClr val="bg1"/>
                </a:solidFill>
                <a:hlinkClick r:id="rId9"/>
              </a:rPr>
              <a:t>https://youtu.be/nTwb9MXIBtM?si=y6SW7_j2nwYfJfuN</a:t>
            </a: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a:p>
            <a:pPr marL="285750" indent="-285750">
              <a:buFont typeface="Wingdings" panose="05000000000000000000" pitchFamily="2" charset="2"/>
              <a:buChar char="ü"/>
            </a:pPr>
            <a:r>
              <a:rPr lang="en-US" sz="2000" b="1" u="sng" dirty="0">
                <a:solidFill>
                  <a:schemeClr val="bg1"/>
                </a:solidFill>
                <a:hlinkClick r:id="rId10"/>
              </a:rPr>
              <a:t>https://www.researchgate.net/profile/Aravind-Ganapathiraju/publication/255632752_Baum-Welch_Re-estimation_of_Hidden_Markov_Model/links/5610c41908ae6b29b49c8f9e/Baum-Welch-Re-estimation-of-Hidden-Markov-Model.pdf</a:t>
            </a: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a:p>
            <a:pPr marL="285750" indent="-285750">
              <a:buFont typeface="Wingdings" panose="05000000000000000000" pitchFamily="2" charset="2"/>
              <a:buChar char="ü"/>
            </a:pPr>
            <a:r>
              <a:rPr lang="en-US" sz="2000" b="1" u="sng" dirty="0">
                <a:solidFill>
                  <a:schemeClr val="bg1"/>
                </a:solidFill>
                <a:hlinkClick r:id="rId11"/>
              </a:rPr>
              <a:t>https://en.wikipedia.org/wiki/Baum%E2%80%93Welch_algorithm</a:t>
            </a: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a:p>
            <a:pPr marL="285750" indent="-285750">
              <a:buFont typeface="Wingdings" panose="05000000000000000000" pitchFamily="2" charset="2"/>
              <a:buChar char="ü"/>
            </a:pPr>
            <a:r>
              <a:rPr lang="en-US" sz="2000" b="1" u="sng" dirty="0">
                <a:solidFill>
                  <a:schemeClr val="bg1"/>
                </a:solidFill>
                <a:hlinkClick r:id="rId12"/>
              </a:rPr>
              <a:t>https://pure.royalholloway.ac.uk/ws/portalfiles/portal/1446635/Hidden_Markov_Models_Theory_and_Applications.pdf</a:t>
            </a: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a:p>
            <a:pPr marL="285750" indent="-285750">
              <a:buFont typeface="Wingdings" panose="05000000000000000000" pitchFamily="2" charset="2"/>
              <a:buChar char="ü"/>
            </a:pPr>
            <a:endParaRPr lang="en-US" sz="2000" b="1" u="sng" dirty="0">
              <a:solidFill>
                <a:schemeClr val="bg1"/>
              </a:solidFill>
            </a:endParaRPr>
          </a:p>
        </p:txBody>
      </p:sp>
    </p:spTree>
    <p:extLst>
      <p:ext uri="{BB962C8B-B14F-4D97-AF65-F5344CB8AC3E}">
        <p14:creationId xmlns:p14="http://schemas.microsoft.com/office/powerpoint/2010/main" val="39841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AC328-FFF3-CE95-6B72-B05329E0AAB2}"/>
            </a:ext>
          </a:extLst>
        </p:cNvPr>
        <p:cNvGrpSpPr/>
        <p:nvPr/>
      </p:nvGrpSpPr>
      <p:grpSpPr>
        <a:xfrm>
          <a:off x="0" y="0"/>
          <a:ext cx="0" cy="0"/>
          <a:chOff x="0" y="0"/>
          <a:chExt cx="0" cy="0"/>
        </a:xfrm>
      </p:grpSpPr>
      <p:pic>
        <p:nvPicPr>
          <p:cNvPr id="47" name="Picture 46">
            <a:extLst>
              <a:ext uri="{FF2B5EF4-FFF2-40B4-BE49-F238E27FC236}">
                <a16:creationId xmlns:a16="http://schemas.microsoft.com/office/drawing/2014/main" id="{DC5DB366-2DBB-4BE5-7EBB-FDDA3DB016F3}"/>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contrast="-40000"/>
                    </a14:imgEffect>
                  </a14:imgLayer>
                </a14:imgProps>
              </a:ext>
              <a:ext uri="{28A0092B-C50C-407E-A947-70E740481C1C}">
                <a14:useLocalDpi xmlns:a14="http://schemas.microsoft.com/office/drawing/2010/main"/>
              </a:ext>
            </a:extLst>
          </a:blip>
          <a:srcRect l="11475" t="17459" r="495" b="3647"/>
          <a:stretch/>
        </p:blipFill>
        <p:spPr>
          <a:xfrm>
            <a:off x="1352048" y="1898"/>
            <a:ext cx="10839952" cy="6476710"/>
          </a:xfrm>
          <a:custGeom>
            <a:avLst/>
            <a:gdLst>
              <a:gd name="connsiteX0" fmla="*/ 13028 w 10839952"/>
              <a:gd name="connsiteY0" fmla="*/ 0 h 6476710"/>
              <a:gd name="connsiteX1" fmla="*/ 10839952 w 10839952"/>
              <a:gd name="connsiteY1" fmla="*/ 0 h 6476710"/>
              <a:gd name="connsiteX2" fmla="*/ 10839952 w 10839952"/>
              <a:gd name="connsiteY2" fmla="*/ 4207453 h 6476710"/>
              <a:gd name="connsiteX3" fmla="*/ 10799970 w 10839952"/>
              <a:gd name="connsiteY3" fmla="*/ 4258332 h 6476710"/>
              <a:gd name="connsiteX4" fmla="*/ 6096000 w 10839952"/>
              <a:gd name="connsiteY4" fmla="*/ 6476710 h 6476710"/>
              <a:gd name="connsiteX5" fmla="*/ 0 w 10839952"/>
              <a:gd name="connsiteY5" fmla="*/ 380710 h 6476710"/>
              <a:gd name="connsiteX6" fmla="*/ 7932 w 10839952"/>
              <a:gd name="connsiteY6" fmla="*/ 67011 h 6476710"/>
              <a:gd name="connsiteX7" fmla="*/ 13028 w 10839952"/>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2" h="6476710">
                <a:moveTo>
                  <a:pt x="13028" y="0"/>
                </a:moveTo>
                <a:lnTo>
                  <a:pt x="10839952" y="0"/>
                </a:lnTo>
                <a:lnTo>
                  <a:pt x="10839952" y="4207453"/>
                </a:lnTo>
                <a:lnTo>
                  <a:pt x="10799970" y="4258332"/>
                </a:lnTo>
                <a:cubicBezTo>
                  <a:pt x="9681874" y="5613152"/>
                  <a:pt x="7989784" y="6476710"/>
                  <a:pt x="6096000" y="6476710"/>
                </a:cubicBezTo>
                <a:cubicBezTo>
                  <a:pt x="2729272" y="6476710"/>
                  <a:pt x="0" y="3747438"/>
                  <a:pt x="0" y="380710"/>
                </a:cubicBezTo>
                <a:cubicBezTo>
                  <a:pt x="0" y="275500"/>
                  <a:pt x="2664" y="170912"/>
                  <a:pt x="7932" y="67011"/>
                </a:cubicBezTo>
                <a:lnTo>
                  <a:pt x="13028" y="0"/>
                </a:lnTo>
                <a:close/>
              </a:path>
            </a:pathLst>
          </a:custGeom>
        </p:spPr>
      </p:pic>
      <p:sp>
        <p:nvSpPr>
          <p:cNvPr id="2" name="Rectangle 1">
            <a:extLst>
              <a:ext uri="{FF2B5EF4-FFF2-40B4-BE49-F238E27FC236}">
                <a16:creationId xmlns:a16="http://schemas.microsoft.com/office/drawing/2014/main" id="{9CB265B5-D1A8-691B-3522-F2D3E4F09114}"/>
              </a:ext>
            </a:extLst>
          </p:cNvPr>
          <p:cNvSpPr/>
          <p:nvPr/>
        </p:nvSpPr>
        <p:spPr>
          <a:xfrm>
            <a:off x="10827" y="-8321"/>
            <a:ext cx="12181173"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Slide Number Placeholder 55">
            <a:extLst>
              <a:ext uri="{FF2B5EF4-FFF2-40B4-BE49-F238E27FC236}">
                <a16:creationId xmlns:a16="http://schemas.microsoft.com/office/drawing/2014/main" id="{BDB5BF2F-654E-B0BB-05AB-2938359E0D2B}"/>
              </a:ext>
            </a:extLst>
          </p:cNvPr>
          <p:cNvSpPr>
            <a:spLocks noGrp="1"/>
          </p:cNvSpPr>
          <p:nvPr>
            <p:ph type="sldNum" sz="quarter" idx="12"/>
          </p:nvPr>
        </p:nvSpPr>
        <p:spPr/>
        <p:txBody>
          <a:bodyPr/>
          <a:lstStyle/>
          <a:p>
            <a:fld id="{2745C2C1-43AE-4748-AE73-76A74359E3A8}" type="slidenum">
              <a:rPr lang="en-US" smtClean="0"/>
              <a:pPr/>
              <a:t>4</a:t>
            </a:fld>
            <a:endParaRPr lang="en-US"/>
          </a:p>
        </p:txBody>
      </p:sp>
      <p:sp>
        <p:nvSpPr>
          <p:cNvPr id="12" name="Freeform: Shape 11">
            <a:extLst>
              <a:ext uri="{FF2B5EF4-FFF2-40B4-BE49-F238E27FC236}">
                <a16:creationId xmlns:a16="http://schemas.microsoft.com/office/drawing/2014/main" id="{85F3AE5F-8E27-7048-F8D6-54EA0E39981C}"/>
              </a:ext>
            </a:extLst>
          </p:cNvPr>
          <p:cNvSpPr/>
          <p:nvPr/>
        </p:nvSpPr>
        <p:spPr>
          <a:xfrm rot="10800000">
            <a:off x="-2" y="4127502"/>
            <a:ext cx="4569985" cy="2730498"/>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7AB149B4-8907-5DAB-BC1D-0BA1191D03E8}"/>
              </a:ext>
            </a:extLst>
          </p:cNvPr>
          <p:cNvSpPr txBox="1"/>
          <p:nvPr/>
        </p:nvSpPr>
        <p:spPr>
          <a:xfrm>
            <a:off x="8591546" y="709045"/>
            <a:ext cx="2790829" cy="942694"/>
          </a:xfrm>
          <a:prstGeom prst="rect">
            <a:avLst/>
          </a:prstGeom>
          <a:noFill/>
        </p:spPr>
        <p:txBody>
          <a:bodyPr wrap="none" lIns="0" rIns="0" rtlCol="0">
            <a:spAutoFit/>
          </a:bodyPr>
          <a:lstStyle/>
          <a:p>
            <a:pPr algn="r">
              <a:lnSpc>
                <a:spcPct val="80000"/>
              </a:lnSpc>
            </a:pPr>
            <a:r>
              <a:rPr lang="id-ID" sz="2400" dirty="0">
                <a:solidFill>
                  <a:srgbClr val="168DA5"/>
                </a:solidFill>
                <a:latin typeface="Arial Black" panose="020B0A04020102020204" pitchFamily="34" charset="0"/>
              </a:rPr>
              <a:t>Table of </a:t>
            </a:r>
          </a:p>
          <a:p>
            <a:pPr algn="r">
              <a:lnSpc>
                <a:spcPct val="80000"/>
              </a:lnSpc>
            </a:pPr>
            <a:r>
              <a:rPr lang="id-ID" sz="4400" b="1" dirty="0">
                <a:solidFill>
                  <a:schemeClr val="bg1"/>
                </a:solidFill>
                <a:latin typeface="Arial Black" panose="020B0A04020102020204" pitchFamily="34" charset="0"/>
              </a:rPr>
              <a:t>Contents</a:t>
            </a:r>
            <a:endParaRPr lang="en-US" sz="4400" b="1" dirty="0">
              <a:solidFill>
                <a:schemeClr val="bg1"/>
              </a:solidFill>
              <a:latin typeface="Arial Black" panose="020B0A04020102020204" pitchFamily="34" charset="0"/>
            </a:endParaRPr>
          </a:p>
        </p:txBody>
      </p:sp>
      <p:sp>
        <p:nvSpPr>
          <p:cNvPr id="14" name="Freeform: Shape 13">
            <a:extLst>
              <a:ext uri="{FF2B5EF4-FFF2-40B4-BE49-F238E27FC236}">
                <a16:creationId xmlns:a16="http://schemas.microsoft.com/office/drawing/2014/main" id="{43A9379A-07EA-0C1D-B9BD-24BEEB29A945}"/>
              </a:ext>
            </a:extLst>
          </p:cNvPr>
          <p:cNvSpPr/>
          <p:nvPr/>
        </p:nvSpPr>
        <p:spPr>
          <a:xfrm rot="10800000" flipH="1">
            <a:off x="7777322" y="4091297"/>
            <a:ext cx="4630579" cy="2766702"/>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728E8F6E-09D9-F960-CAB4-8D1001E73583}"/>
              </a:ext>
            </a:extLst>
          </p:cNvPr>
          <p:cNvSpPr/>
          <p:nvPr/>
        </p:nvSpPr>
        <p:spPr>
          <a:xfrm rot="10800000" flipH="1">
            <a:off x="7509984" y="3848098"/>
            <a:ext cx="5037617" cy="300990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0746A1C-BC94-D682-915D-524488FD92F3}"/>
              </a:ext>
            </a:extLst>
          </p:cNvPr>
          <p:cNvSpPr/>
          <p:nvPr/>
        </p:nvSpPr>
        <p:spPr>
          <a:xfrm rot="10800000" flipH="1">
            <a:off x="7200900" y="3534428"/>
            <a:ext cx="5562601" cy="332357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hlinkClick r:id="rId5" action="ppaction://hlinksldjump"/>
            <a:extLst>
              <a:ext uri="{FF2B5EF4-FFF2-40B4-BE49-F238E27FC236}">
                <a16:creationId xmlns:a16="http://schemas.microsoft.com/office/drawing/2014/main" id="{D4BC8728-83E9-DE21-BF27-B5D7E0D6E6C7}"/>
              </a:ext>
            </a:extLst>
          </p:cNvPr>
          <p:cNvSpPr/>
          <p:nvPr/>
        </p:nvSpPr>
        <p:spPr>
          <a:xfrm>
            <a:off x="3521515"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hlinkClick r:id="rId6" action="ppaction://hlinksldjump"/>
            <a:extLst>
              <a:ext uri="{FF2B5EF4-FFF2-40B4-BE49-F238E27FC236}">
                <a16:creationId xmlns:a16="http://schemas.microsoft.com/office/drawing/2014/main" id="{5A426EA0-3298-0FCB-4D56-3419F1132359}"/>
              </a:ext>
            </a:extLst>
          </p:cNvPr>
          <p:cNvSpPr/>
          <p:nvPr/>
        </p:nvSpPr>
        <p:spPr>
          <a:xfrm>
            <a:off x="6233406"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FB4233A-EC73-EC3E-F68B-26BAA478DA13}"/>
              </a:ext>
            </a:extLst>
          </p:cNvPr>
          <p:cNvSpPr txBox="1"/>
          <p:nvPr/>
        </p:nvSpPr>
        <p:spPr>
          <a:xfrm>
            <a:off x="3788922" y="2789182"/>
            <a:ext cx="1902265"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a:t>
            </a:r>
            <a:r>
              <a:rPr lang="en-US" sz="4400" dirty="0">
                <a:solidFill>
                  <a:srgbClr val="168DA5"/>
                </a:solidFill>
              </a:rPr>
              <a:t>6</a:t>
            </a:r>
            <a:r>
              <a:rPr lang="id-ID" sz="4400" dirty="0">
                <a:solidFill>
                  <a:srgbClr val="168DA5"/>
                </a:solidFill>
              </a:rPr>
              <a:t>.</a:t>
            </a:r>
            <a:endParaRPr lang="en-US" sz="4400" dirty="0">
              <a:solidFill>
                <a:srgbClr val="168DA5"/>
              </a:solidFill>
            </a:endParaRPr>
          </a:p>
        </p:txBody>
      </p:sp>
      <p:sp>
        <p:nvSpPr>
          <p:cNvPr id="34" name="TextBox 33">
            <a:extLst>
              <a:ext uri="{FF2B5EF4-FFF2-40B4-BE49-F238E27FC236}">
                <a16:creationId xmlns:a16="http://schemas.microsoft.com/office/drawing/2014/main" id="{DA82F756-067B-A1B6-5D60-643287AAE1C4}"/>
              </a:ext>
            </a:extLst>
          </p:cNvPr>
          <p:cNvSpPr txBox="1"/>
          <p:nvPr/>
        </p:nvSpPr>
        <p:spPr>
          <a:xfrm>
            <a:off x="6500813" y="2789182"/>
            <a:ext cx="1902264"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a:t>
            </a:r>
            <a:r>
              <a:rPr lang="en-US" sz="4400" dirty="0">
                <a:solidFill>
                  <a:srgbClr val="168DA5"/>
                </a:solidFill>
              </a:rPr>
              <a:t>7</a:t>
            </a:r>
            <a:r>
              <a:rPr lang="id-ID" sz="4400" dirty="0">
                <a:solidFill>
                  <a:srgbClr val="168DA5"/>
                </a:solidFill>
              </a:rPr>
              <a:t>.</a:t>
            </a:r>
            <a:endParaRPr lang="en-US" sz="4400" dirty="0">
              <a:solidFill>
                <a:srgbClr val="168DA5"/>
              </a:solidFill>
            </a:endParaRPr>
          </a:p>
        </p:txBody>
      </p:sp>
      <p:sp>
        <p:nvSpPr>
          <p:cNvPr id="38" name="TextBox 37">
            <a:extLst>
              <a:ext uri="{FF2B5EF4-FFF2-40B4-BE49-F238E27FC236}">
                <a16:creationId xmlns:a16="http://schemas.microsoft.com/office/drawing/2014/main" id="{3495D7E9-2762-2CE1-37BA-60042389F9E8}"/>
              </a:ext>
            </a:extLst>
          </p:cNvPr>
          <p:cNvSpPr txBox="1"/>
          <p:nvPr/>
        </p:nvSpPr>
        <p:spPr>
          <a:xfrm>
            <a:off x="3760234" y="4262281"/>
            <a:ext cx="2100054" cy="1384995"/>
          </a:xfrm>
          <a:prstGeom prst="rect">
            <a:avLst/>
          </a:prstGeom>
          <a:noFill/>
        </p:spPr>
        <p:txBody>
          <a:bodyPr wrap="square" lIns="0" rIns="0" rtlCol="0">
            <a:spAutoFit/>
          </a:bodyPr>
          <a:lstStyle/>
          <a:p>
            <a:r>
              <a:rPr lang="en-US" sz="1400" dirty="0">
                <a:solidFill>
                  <a:schemeClr val="bg1">
                    <a:lumMod val="50000"/>
                  </a:schemeClr>
                </a:solidFill>
                <a:latin typeface="Söhne"/>
              </a:rPr>
              <a:t>We discuss the real-world applications of the Baum-Welch Algorithm, shedding the light on one of its common applications which is Speech Recognition.</a:t>
            </a:r>
            <a:endParaRPr lang="id-ID" sz="1400" dirty="0">
              <a:solidFill>
                <a:schemeClr val="bg1">
                  <a:lumMod val="50000"/>
                </a:schemeClr>
              </a:solidFill>
              <a:latin typeface="Söhne"/>
            </a:endParaRPr>
          </a:p>
        </p:txBody>
      </p:sp>
      <p:sp>
        <p:nvSpPr>
          <p:cNvPr id="39" name="TextBox 38">
            <a:extLst>
              <a:ext uri="{FF2B5EF4-FFF2-40B4-BE49-F238E27FC236}">
                <a16:creationId xmlns:a16="http://schemas.microsoft.com/office/drawing/2014/main" id="{26FE7321-EA71-E89F-96F0-3726A60E5A23}"/>
              </a:ext>
            </a:extLst>
          </p:cNvPr>
          <p:cNvSpPr txBox="1"/>
          <p:nvPr/>
        </p:nvSpPr>
        <p:spPr>
          <a:xfrm>
            <a:off x="6491455" y="4262086"/>
            <a:ext cx="2024484" cy="1384995"/>
          </a:xfrm>
          <a:prstGeom prst="rect">
            <a:avLst/>
          </a:prstGeom>
          <a:noFill/>
        </p:spPr>
        <p:txBody>
          <a:bodyPr wrap="square" lIns="0" rIns="0" rtlCol="0">
            <a:spAutoFit/>
          </a:bodyPr>
          <a:lstStyle/>
          <a:p>
            <a:r>
              <a:rPr lang="en-US" sz="1400" dirty="0">
                <a:solidFill>
                  <a:schemeClr val="bg1">
                    <a:lumMod val="50000"/>
                  </a:schemeClr>
                </a:solidFill>
                <a:latin typeface="Söhne"/>
              </a:rPr>
              <a:t>A practical implementation of the Baum-Welch Algorithm through Python programming for hands-on understanding and execution.</a:t>
            </a:r>
            <a:endParaRPr lang="id-ID" sz="1400" dirty="0">
              <a:solidFill>
                <a:schemeClr val="bg1">
                  <a:lumMod val="50000"/>
                </a:schemeClr>
              </a:solidFill>
              <a:latin typeface="Söhne"/>
            </a:endParaRPr>
          </a:p>
        </p:txBody>
      </p:sp>
      <p:sp>
        <p:nvSpPr>
          <p:cNvPr id="42" name="TextBox 41">
            <a:extLst>
              <a:ext uri="{FF2B5EF4-FFF2-40B4-BE49-F238E27FC236}">
                <a16:creationId xmlns:a16="http://schemas.microsoft.com/office/drawing/2014/main" id="{F380E9E6-0059-4D7C-6B6F-1DBB162D236C}"/>
              </a:ext>
            </a:extLst>
          </p:cNvPr>
          <p:cNvSpPr txBox="1"/>
          <p:nvPr/>
        </p:nvSpPr>
        <p:spPr>
          <a:xfrm>
            <a:off x="3788922" y="3576484"/>
            <a:ext cx="2122282" cy="707886"/>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Baum-Welch Applications</a:t>
            </a:r>
          </a:p>
        </p:txBody>
      </p:sp>
      <p:sp>
        <p:nvSpPr>
          <p:cNvPr id="43" name="TextBox 42">
            <a:extLst>
              <a:ext uri="{FF2B5EF4-FFF2-40B4-BE49-F238E27FC236}">
                <a16:creationId xmlns:a16="http://schemas.microsoft.com/office/drawing/2014/main" id="{B0DED3E7-9730-A0D5-7881-BE9735E9B74A}"/>
              </a:ext>
            </a:extLst>
          </p:cNvPr>
          <p:cNvSpPr txBox="1"/>
          <p:nvPr/>
        </p:nvSpPr>
        <p:spPr>
          <a:xfrm>
            <a:off x="6500812" y="3576484"/>
            <a:ext cx="1940723" cy="707886"/>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Implementation Using Python</a:t>
            </a:r>
          </a:p>
        </p:txBody>
      </p:sp>
      <p:cxnSp>
        <p:nvCxnSpPr>
          <p:cNvPr id="46" name="Straight Connector 45">
            <a:extLst>
              <a:ext uri="{FF2B5EF4-FFF2-40B4-BE49-F238E27FC236}">
                <a16:creationId xmlns:a16="http://schemas.microsoft.com/office/drawing/2014/main" id="{C72F603C-7FDC-C1AF-62C6-99DF5171F27B}"/>
              </a:ext>
            </a:extLst>
          </p:cNvPr>
          <p:cNvCxnSpPr>
            <a:cxnSpLocks/>
          </p:cNvCxnSpPr>
          <p:nvPr/>
        </p:nvCxnSpPr>
        <p:spPr>
          <a:xfrm>
            <a:off x="5531291"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1F1AF78-1581-F231-9B3E-BB42019996EC}"/>
              </a:ext>
            </a:extLst>
          </p:cNvPr>
          <p:cNvCxnSpPr>
            <a:cxnSpLocks/>
          </p:cNvCxnSpPr>
          <p:nvPr/>
        </p:nvCxnSpPr>
        <p:spPr>
          <a:xfrm>
            <a:off x="8243182"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7071B-03CF-915F-7C2E-C2040BE5A64D}"/>
              </a:ext>
            </a:extLst>
          </p:cNvPr>
          <p:cNvCxnSpPr>
            <a:cxnSpLocks/>
          </p:cNvCxnSpPr>
          <p:nvPr/>
        </p:nvCxnSpPr>
        <p:spPr>
          <a:xfrm>
            <a:off x="10244515" y="1752600"/>
            <a:ext cx="1099053"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B882474D-D289-7D1F-66A4-688A7F3B307A}"/>
              </a:ext>
            </a:extLst>
          </p:cNvPr>
          <p:cNvGrpSpPr/>
          <p:nvPr/>
        </p:nvGrpSpPr>
        <p:grpSpPr>
          <a:xfrm flipH="1" flipV="1">
            <a:off x="131620" y="221502"/>
            <a:ext cx="1729654" cy="848268"/>
            <a:chOff x="233739" y="283295"/>
            <a:chExt cx="1729654" cy="848268"/>
          </a:xfrm>
          <a:gradFill>
            <a:gsLst>
              <a:gs pos="100000">
                <a:schemeClr val="accent5"/>
              </a:gs>
              <a:gs pos="0">
                <a:schemeClr val="tx1">
                  <a:alpha val="0"/>
                </a:schemeClr>
              </a:gs>
            </a:gsLst>
            <a:lin ang="0" scaled="1"/>
          </a:gradFill>
        </p:grpSpPr>
        <p:grpSp>
          <p:nvGrpSpPr>
            <p:cNvPr id="64" name="Group 63">
              <a:extLst>
                <a:ext uri="{FF2B5EF4-FFF2-40B4-BE49-F238E27FC236}">
                  <a16:creationId xmlns:a16="http://schemas.microsoft.com/office/drawing/2014/main" id="{0A816141-D03D-AEAB-8F80-643CA70BBC7B}"/>
                </a:ext>
              </a:extLst>
            </p:cNvPr>
            <p:cNvGrpSpPr/>
            <p:nvPr/>
          </p:nvGrpSpPr>
          <p:grpSpPr>
            <a:xfrm rot="5400000">
              <a:off x="1055270" y="-538236"/>
              <a:ext cx="86591" cy="1729654"/>
              <a:chOff x="85292" y="59892"/>
              <a:chExt cx="86591" cy="1729654"/>
            </a:xfrm>
            <a:grpFill/>
          </p:grpSpPr>
          <p:sp>
            <p:nvSpPr>
              <p:cNvPr id="98" name="Oval 97">
                <a:extLst>
                  <a:ext uri="{FF2B5EF4-FFF2-40B4-BE49-F238E27FC236}">
                    <a16:creationId xmlns:a16="http://schemas.microsoft.com/office/drawing/2014/main" id="{3C52FE78-3501-6D21-4B7B-1AE99E4E180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B81B1F74-A51C-D190-7BBF-321CCD1D910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F1318E6C-915A-20AB-B144-EC43DEFC05B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892A21D-8390-D5CE-5586-667085091EB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B7845ABD-FBC0-0FF5-99FC-C64118A3EDB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3B2C07BC-9C59-3CAE-C977-99670CC60F6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7371A09A-0CF4-503F-3CDE-D6BCE07FBBE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579B95E4-AE95-5526-860C-5699E1794C8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EC96C3C-8792-C842-E280-08F5AFA38CC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671E745C-F140-7ED4-E771-4DBA9D41F02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257AD2B6-41A8-EB96-292F-0FDA9D417BCA}"/>
                </a:ext>
              </a:extLst>
            </p:cNvPr>
            <p:cNvGrpSpPr/>
            <p:nvPr/>
          </p:nvGrpSpPr>
          <p:grpSpPr>
            <a:xfrm rot="5400000">
              <a:off x="1055270" y="-284344"/>
              <a:ext cx="86591" cy="1729654"/>
              <a:chOff x="85292" y="59892"/>
              <a:chExt cx="86591" cy="1729654"/>
            </a:xfrm>
            <a:grpFill/>
          </p:grpSpPr>
          <p:sp>
            <p:nvSpPr>
              <p:cNvPr id="88" name="Oval 87">
                <a:extLst>
                  <a:ext uri="{FF2B5EF4-FFF2-40B4-BE49-F238E27FC236}">
                    <a16:creationId xmlns:a16="http://schemas.microsoft.com/office/drawing/2014/main" id="{F67F27BC-CB67-EFD9-9913-EE240DB5DB8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557CDD97-04B9-72F7-D04F-AF310CAFBBB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28E6785C-328B-D2FD-429E-C3FCCD10DE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9E0DFCE7-B583-987B-2EAD-3E5EFDCC3FE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C462D2E8-2E89-DC88-66D7-FBCE32175E8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C05E6742-515C-E171-B611-CB867687D0B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D5A74103-752B-639F-78A2-0E61A6E2386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EDF675D5-005A-C86C-66B7-D37FCEECA7B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688641A2-5D77-DA53-D5BA-DF9CE457B26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192F171C-6D05-195C-942B-B6A7A3ABCEC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DEC56469-3616-E8BA-9891-43C73B65CD93}"/>
                </a:ext>
              </a:extLst>
            </p:cNvPr>
            <p:cNvGrpSpPr/>
            <p:nvPr/>
          </p:nvGrpSpPr>
          <p:grpSpPr>
            <a:xfrm rot="5400000">
              <a:off x="1055270" y="-30452"/>
              <a:ext cx="86591" cy="1729654"/>
              <a:chOff x="85292" y="59892"/>
              <a:chExt cx="86591" cy="1729654"/>
            </a:xfrm>
            <a:grpFill/>
          </p:grpSpPr>
          <p:sp>
            <p:nvSpPr>
              <p:cNvPr id="78" name="Oval 77">
                <a:extLst>
                  <a:ext uri="{FF2B5EF4-FFF2-40B4-BE49-F238E27FC236}">
                    <a16:creationId xmlns:a16="http://schemas.microsoft.com/office/drawing/2014/main" id="{B1246626-CFF1-F4E4-E692-84738E0E926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8E03B9E1-127E-DBDE-B2A5-49F38F7E845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F333AC52-1B4D-CDD1-32EB-8EAE3D96C72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F256629F-EB8E-687F-3182-DB9403EF054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98323204-AB33-2DDA-3462-999533ED8E2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2B20AD75-D99F-F660-F833-7878BE4AA15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AB66B6D-5011-B7D1-E5CA-A9B8837390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6E2EFC28-00B4-B9D6-3DE1-C5D081DA3D1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4E158E7E-CAA3-1851-9BF3-D703CBFE05D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FCC43E0F-7914-5A98-B594-2E9DC277E89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a:extLst>
                <a:ext uri="{FF2B5EF4-FFF2-40B4-BE49-F238E27FC236}">
                  <a16:creationId xmlns:a16="http://schemas.microsoft.com/office/drawing/2014/main" id="{C1CD55A5-040D-6844-D0C8-B8B090F02EA1}"/>
                </a:ext>
              </a:extLst>
            </p:cNvPr>
            <p:cNvGrpSpPr/>
            <p:nvPr/>
          </p:nvGrpSpPr>
          <p:grpSpPr>
            <a:xfrm rot="5400000">
              <a:off x="1055270" y="223441"/>
              <a:ext cx="86591" cy="1729654"/>
              <a:chOff x="85292" y="59892"/>
              <a:chExt cx="86591" cy="1729654"/>
            </a:xfrm>
            <a:grpFill/>
          </p:grpSpPr>
          <p:sp>
            <p:nvSpPr>
              <p:cNvPr id="68" name="Oval 67">
                <a:extLst>
                  <a:ext uri="{FF2B5EF4-FFF2-40B4-BE49-F238E27FC236}">
                    <a16:creationId xmlns:a16="http://schemas.microsoft.com/office/drawing/2014/main" id="{F4294DC6-1546-216A-59E5-D81E0F6240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3B2EBD72-8F56-9B49-AE3D-1381A5BC9D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C862ECD2-62AA-FC8F-2A0C-6D6274BC13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12217950-4622-0FD9-5B0B-69D764E54AF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ECE2F4B9-ADF8-1751-55EC-54614844824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4E2BC287-5A1B-B527-C07E-029818444F4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2A585649-B125-13D3-D004-85DA9115FB0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7F0E40D6-59A5-087C-555C-43B82B3AD76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E9567B05-7863-9252-C971-F6763921943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9DDEBC03-EF7D-AB0D-3EFB-6D966589946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8" name="Group 107">
            <a:extLst>
              <a:ext uri="{FF2B5EF4-FFF2-40B4-BE49-F238E27FC236}">
                <a16:creationId xmlns:a16="http://schemas.microsoft.com/office/drawing/2014/main" id="{329F5AB9-004C-86D9-D45C-F67E1FA14B9C}"/>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09" name="Group 108">
              <a:extLst>
                <a:ext uri="{FF2B5EF4-FFF2-40B4-BE49-F238E27FC236}">
                  <a16:creationId xmlns:a16="http://schemas.microsoft.com/office/drawing/2014/main" id="{19EFFA01-59E3-9D64-71B9-739C0A80B6E0}"/>
                </a:ext>
              </a:extLst>
            </p:cNvPr>
            <p:cNvGrpSpPr/>
            <p:nvPr/>
          </p:nvGrpSpPr>
          <p:grpSpPr>
            <a:xfrm rot="5400000">
              <a:off x="1055270" y="-538236"/>
              <a:ext cx="86591" cy="1729654"/>
              <a:chOff x="85292" y="59892"/>
              <a:chExt cx="86591" cy="1729654"/>
            </a:xfrm>
            <a:grpFill/>
          </p:grpSpPr>
          <p:sp>
            <p:nvSpPr>
              <p:cNvPr id="143" name="Oval 142">
                <a:extLst>
                  <a:ext uri="{FF2B5EF4-FFF2-40B4-BE49-F238E27FC236}">
                    <a16:creationId xmlns:a16="http://schemas.microsoft.com/office/drawing/2014/main" id="{1B81A2EF-6C5F-C096-9A6B-E5E705FDD48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id="{F997D175-8FDF-0167-2D15-A154E7806C2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id="{8CFE6E44-CA5F-1BA1-35B0-C01D540DF91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id="{AB1ADCB4-5C0C-751A-4C0F-D4F46A71336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id="{C6E08AAC-B069-591F-FFFB-7326237F914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614B6D13-FB78-4A9A-6570-F7F2B7495FB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id="{45F3B010-D7FE-F1D2-F868-334615B575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2AEA4E44-6B9D-B9EB-9D08-A124065D220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C9B9273C-5E6A-62CC-8716-5A9C6725055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id="{9293A917-F41C-1FA2-FE43-22BB9B2EDF0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8744861D-C0BC-F3FE-5494-EC4D8F8498A1}"/>
                </a:ext>
              </a:extLst>
            </p:cNvPr>
            <p:cNvGrpSpPr/>
            <p:nvPr/>
          </p:nvGrpSpPr>
          <p:grpSpPr>
            <a:xfrm rot="5400000">
              <a:off x="1055270" y="-284344"/>
              <a:ext cx="86591" cy="1729654"/>
              <a:chOff x="85292" y="59892"/>
              <a:chExt cx="86591" cy="1729654"/>
            </a:xfrm>
            <a:grpFill/>
          </p:grpSpPr>
          <p:sp>
            <p:nvSpPr>
              <p:cNvPr id="133" name="Oval 132">
                <a:extLst>
                  <a:ext uri="{FF2B5EF4-FFF2-40B4-BE49-F238E27FC236}">
                    <a16:creationId xmlns:a16="http://schemas.microsoft.com/office/drawing/2014/main" id="{D9699A62-ED6F-504E-EEC1-8653A520E81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a16="http://schemas.microsoft.com/office/drawing/2014/main" id="{9C7688F2-B3C5-2073-B898-8E3D084795F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627A4815-9E03-300B-61D0-E7804315677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id="{FBCE4369-79FF-5F1C-17CF-037E5DAAAD8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a16="http://schemas.microsoft.com/office/drawing/2014/main" id="{A940A8FB-E197-990D-8A25-2EA83B927EB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2AA6D961-7EFF-5433-C087-624181AF177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E76BB433-E06D-5066-DB8E-C7F31DA4C8C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B3832050-C4E1-C3E0-6C68-5FE9E3D4B7A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id="{9C3AC9AA-24C8-984C-1EAB-53E3EC78CF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id="{6B186C0B-6D61-57CF-D09F-D1648D29A7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346FB82F-2093-89FA-D59A-9D1D32A08170}"/>
                </a:ext>
              </a:extLst>
            </p:cNvPr>
            <p:cNvGrpSpPr/>
            <p:nvPr/>
          </p:nvGrpSpPr>
          <p:grpSpPr>
            <a:xfrm rot="5400000">
              <a:off x="1055270" y="-30452"/>
              <a:ext cx="86591" cy="1729654"/>
              <a:chOff x="85292" y="59892"/>
              <a:chExt cx="86591" cy="1729654"/>
            </a:xfrm>
            <a:grpFill/>
          </p:grpSpPr>
          <p:sp>
            <p:nvSpPr>
              <p:cNvPr id="123" name="Oval 122">
                <a:extLst>
                  <a:ext uri="{FF2B5EF4-FFF2-40B4-BE49-F238E27FC236}">
                    <a16:creationId xmlns:a16="http://schemas.microsoft.com/office/drawing/2014/main" id="{FE8DA8D1-FAD3-6D93-A3AF-32FB1F5600F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BA7FBBAD-9A22-B1FB-9076-75A0374B34F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92FC871B-DA67-8B4B-E054-31550C89CF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59A784C0-2A63-AA3F-6939-272E206E936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79F24BE0-FCD0-6AB9-EA75-8C1C5F6F1E1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7A3AA707-6265-0DA9-B4F0-B083406952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12A56333-408A-D3C1-D9C3-B57998DC908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id="{5A954F02-1501-91F0-2226-9734692D1F5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id="{9E5B7D1D-CE46-DE37-A0EE-6AD9B85794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a16="http://schemas.microsoft.com/office/drawing/2014/main" id="{7A4C3420-C408-0E33-F632-FA5E63E24B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0CD56FCC-6920-5FAC-1A5F-64304457CCAB}"/>
                </a:ext>
              </a:extLst>
            </p:cNvPr>
            <p:cNvGrpSpPr/>
            <p:nvPr/>
          </p:nvGrpSpPr>
          <p:grpSpPr>
            <a:xfrm rot="5400000">
              <a:off x="1055270" y="223441"/>
              <a:ext cx="86591" cy="1729654"/>
              <a:chOff x="85292" y="59892"/>
              <a:chExt cx="86591" cy="1729654"/>
            </a:xfrm>
            <a:grpFill/>
          </p:grpSpPr>
          <p:sp>
            <p:nvSpPr>
              <p:cNvPr id="113" name="Oval 112">
                <a:extLst>
                  <a:ext uri="{FF2B5EF4-FFF2-40B4-BE49-F238E27FC236}">
                    <a16:creationId xmlns:a16="http://schemas.microsoft.com/office/drawing/2014/main" id="{4C9389C6-A4A6-8308-B1CD-DAFCF71B2D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A4B6BAC9-EBFC-EC7E-DA47-C25EE457BFC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A8529389-B498-1F79-58A0-FA3A67590CC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3F983FBF-C93D-AA4F-0918-6E7F8DDEFC7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B6C11D7F-B5AF-BCF1-BDC1-4B011395F60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567EF4F1-7E2E-977A-55B7-82EC918C63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06C6A987-3F2A-0FD3-881D-EEBA9540430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B4AEC296-49C0-6324-B8AC-89F46F10935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5ADAD1A2-3103-825E-6910-A11317225E5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0C5AE7B6-DA21-7CE9-4AE3-FE55CD4C8C0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3" name="Group 242">
            <a:extLst>
              <a:ext uri="{FF2B5EF4-FFF2-40B4-BE49-F238E27FC236}">
                <a16:creationId xmlns:a16="http://schemas.microsoft.com/office/drawing/2014/main" id="{33F24054-C0DD-A06C-1162-25230D17425B}"/>
              </a:ext>
            </a:extLst>
          </p:cNvPr>
          <p:cNvGrpSpPr/>
          <p:nvPr/>
        </p:nvGrpSpPr>
        <p:grpSpPr>
          <a:xfrm rot="16200000" flipV="1">
            <a:off x="363654" y="5736340"/>
            <a:ext cx="1729654" cy="848268"/>
            <a:chOff x="233739" y="283295"/>
            <a:chExt cx="1729654" cy="848268"/>
          </a:xfrm>
          <a:gradFill>
            <a:gsLst>
              <a:gs pos="0">
                <a:schemeClr val="accent5"/>
              </a:gs>
              <a:gs pos="100000">
                <a:schemeClr val="tx1">
                  <a:alpha val="0"/>
                </a:schemeClr>
              </a:gs>
            </a:gsLst>
            <a:lin ang="0" scaled="1"/>
          </a:gradFill>
        </p:grpSpPr>
        <p:grpSp>
          <p:nvGrpSpPr>
            <p:cNvPr id="244" name="Group 243">
              <a:extLst>
                <a:ext uri="{FF2B5EF4-FFF2-40B4-BE49-F238E27FC236}">
                  <a16:creationId xmlns:a16="http://schemas.microsoft.com/office/drawing/2014/main" id="{1712122E-4282-230E-3B97-E5405058065E}"/>
                </a:ext>
              </a:extLst>
            </p:cNvPr>
            <p:cNvGrpSpPr/>
            <p:nvPr/>
          </p:nvGrpSpPr>
          <p:grpSpPr>
            <a:xfrm rot="5400000">
              <a:off x="1055270" y="-538236"/>
              <a:ext cx="86591" cy="1729654"/>
              <a:chOff x="85292" y="59892"/>
              <a:chExt cx="86591" cy="1729654"/>
            </a:xfrm>
            <a:grpFill/>
          </p:grpSpPr>
          <p:sp>
            <p:nvSpPr>
              <p:cNvPr id="278" name="Oval 277">
                <a:extLst>
                  <a:ext uri="{FF2B5EF4-FFF2-40B4-BE49-F238E27FC236}">
                    <a16:creationId xmlns:a16="http://schemas.microsoft.com/office/drawing/2014/main" id="{75001EAB-062F-55FB-154E-A5FEA8BEC00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8662785D-9366-7005-C996-835F28CBCAF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C7E666BD-63F5-F476-F212-688FDDCD544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DDAB105A-55D3-5938-D48D-D3D9CE61BD8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E423382C-7639-D523-8E9D-BF0B67751D6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116CF093-E5A5-578A-2C19-6DD5B7897C3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DD8D6157-6A11-BF4A-0A40-50353DF21AC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Oval 284">
                <a:extLst>
                  <a:ext uri="{FF2B5EF4-FFF2-40B4-BE49-F238E27FC236}">
                    <a16:creationId xmlns:a16="http://schemas.microsoft.com/office/drawing/2014/main" id="{7605012C-EFD6-0162-3B32-B2D1DE3BADF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584153F4-9FB6-AF05-7FEB-EE72D86AA9E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70DE5B51-B01A-F46D-C4E1-0E780E4CD7B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5" name="Group 244">
              <a:extLst>
                <a:ext uri="{FF2B5EF4-FFF2-40B4-BE49-F238E27FC236}">
                  <a16:creationId xmlns:a16="http://schemas.microsoft.com/office/drawing/2014/main" id="{A2C9EB8A-31C3-D7D1-A621-1662039B048A}"/>
                </a:ext>
              </a:extLst>
            </p:cNvPr>
            <p:cNvGrpSpPr/>
            <p:nvPr/>
          </p:nvGrpSpPr>
          <p:grpSpPr>
            <a:xfrm rot="5400000">
              <a:off x="1055270" y="-284344"/>
              <a:ext cx="86591" cy="1729654"/>
              <a:chOff x="85292" y="59892"/>
              <a:chExt cx="86591" cy="1729654"/>
            </a:xfrm>
            <a:grpFill/>
          </p:grpSpPr>
          <p:sp>
            <p:nvSpPr>
              <p:cNvPr id="268" name="Oval 267">
                <a:extLst>
                  <a:ext uri="{FF2B5EF4-FFF2-40B4-BE49-F238E27FC236}">
                    <a16:creationId xmlns:a16="http://schemas.microsoft.com/office/drawing/2014/main" id="{32D40DE1-D00E-E3EB-CBDA-DEDFA6FAE2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1362692C-5F05-6AF3-8366-C48C95E319B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35B63CFF-19AA-A262-DD8A-EE64D31C20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6BC4D328-0790-06FD-CF11-454D3B0D823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B0B9DA58-972F-CF06-6620-A37F2582392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C8547C7D-2D3D-55F7-86A4-C9840969AA7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71613664-2C84-06E4-8F2C-A2B2B6BB010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Oval 274">
                <a:extLst>
                  <a:ext uri="{FF2B5EF4-FFF2-40B4-BE49-F238E27FC236}">
                    <a16:creationId xmlns:a16="http://schemas.microsoft.com/office/drawing/2014/main" id="{C4D463C1-C73F-23B9-2C28-EE3549CA67E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FC82665F-6B1B-A7A4-179B-D6DAF5C2D25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A9E24039-1D39-412B-DEAD-B3B1561B392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a:extLst>
                <a:ext uri="{FF2B5EF4-FFF2-40B4-BE49-F238E27FC236}">
                  <a16:creationId xmlns:a16="http://schemas.microsoft.com/office/drawing/2014/main" id="{51B3C743-38EC-F130-0D7B-2C0414B3A239}"/>
                </a:ext>
              </a:extLst>
            </p:cNvPr>
            <p:cNvGrpSpPr/>
            <p:nvPr/>
          </p:nvGrpSpPr>
          <p:grpSpPr>
            <a:xfrm rot="5400000">
              <a:off x="1055270" y="-30452"/>
              <a:ext cx="86591" cy="1729654"/>
              <a:chOff x="85292" y="59892"/>
              <a:chExt cx="86591" cy="1729654"/>
            </a:xfrm>
            <a:grpFill/>
          </p:grpSpPr>
          <p:sp>
            <p:nvSpPr>
              <p:cNvPr id="258" name="Oval 257">
                <a:extLst>
                  <a:ext uri="{FF2B5EF4-FFF2-40B4-BE49-F238E27FC236}">
                    <a16:creationId xmlns:a16="http://schemas.microsoft.com/office/drawing/2014/main" id="{DACA95C1-0E4D-51BF-FDB3-A04C9030E2F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D444A29D-D98A-4543-E9ED-BFD6169319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834D31E2-D67A-1B07-2EB8-7033354FE73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BEFF732E-A5D2-9133-B06A-2445394D82A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6EE92058-2043-CB87-A734-B8713C582D3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Oval 262">
                <a:extLst>
                  <a:ext uri="{FF2B5EF4-FFF2-40B4-BE49-F238E27FC236}">
                    <a16:creationId xmlns:a16="http://schemas.microsoft.com/office/drawing/2014/main" id="{1B65D5F5-30CA-7AFA-AF5B-4558F2A2EE2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a:extLst>
                  <a:ext uri="{FF2B5EF4-FFF2-40B4-BE49-F238E27FC236}">
                    <a16:creationId xmlns:a16="http://schemas.microsoft.com/office/drawing/2014/main" id="{8FE67ACB-837A-CAD5-954B-421108974F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7E5646A9-CBFD-69D0-946C-490D755F152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2752D8B4-8A5F-463B-F055-099B9B50EE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01F6C01C-72D3-82B3-D02E-23249D96091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a:extLst>
                <a:ext uri="{FF2B5EF4-FFF2-40B4-BE49-F238E27FC236}">
                  <a16:creationId xmlns:a16="http://schemas.microsoft.com/office/drawing/2014/main" id="{B4044660-B2FA-021B-78FF-B6291C7FE5FE}"/>
                </a:ext>
              </a:extLst>
            </p:cNvPr>
            <p:cNvGrpSpPr/>
            <p:nvPr/>
          </p:nvGrpSpPr>
          <p:grpSpPr>
            <a:xfrm rot="5400000">
              <a:off x="1055270" y="223441"/>
              <a:ext cx="86591" cy="1729654"/>
              <a:chOff x="85292" y="59892"/>
              <a:chExt cx="86591" cy="1729654"/>
            </a:xfrm>
            <a:grpFill/>
          </p:grpSpPr>
          <p:sp>
            <p:nvSpPr>
              <p:cNvPr id="248" name="Oval 247">
                <a:extLst>
                  <a:ext uri="{FF2B5EF4-FFF2-40B4-BE49-F238E27FC236}">
                    <a16:creationId xmlns:a16="http://schemas.microsoft.com/office/drawing/2014/main" id="{32C92FB7-93FC-E51E-34E0-9F63230856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CE5EC57B-66E3-896C-22FA-256D5849ACE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Oval 249">
                <a:extLst>
                  <a:ext uri="{FF2B5EF4-FFF2-40B4-BE49-F238E27FC236}">
                    <a16:creationId xmlns:a16="http://schemas.microsoft.com/office/drawing/2014/main" id="{60C1B43F-A786-77E5-9F2A-0975FC18EA3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937BDFE8-3E4A-B710-00AE-5CCD4214472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299E9CF3-1589-CA13-B640-3A73189FA11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4ABDBD0A-62F8-9578-C5CA-0A48FCC640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D5265DA6-1BA4-FA84-D086-A2625FCB988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412E422C-50EF-BE2C-ECD6-991D173BE23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4EB9EC07-55E4-2362-ABFE-A9228FB2A15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74D80105-4FC4-7DE1-8E6D-91E00BC2A9B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88" name="Group 287">
            <a:extLst>
              <a:ext uri="{FF2B5EF4-FFF2-40B4-BE49-F238E27FC236}">
                <a16:creationId xmlns:a16="http://schemas.microsoft.com/office/drawing/2014/main" id="{91E2F8B0-8ACB-39B9-7DCF-436937F797A0}"/>
              </a:ext>
            </a:extLst>
          </p:cNvPr>
          <p:cNvGrpSpPr/>
          <p:nvPr/>
        </p:nvGrpSpPr>
        <p:grpSpPr>
          <a:xfrm rot="16200000" flipV="1">
            <a:off x="1290285" y="6085474"/>
            <a:ext cx="1729654" cy="848268"/>
            <a:chOff x="233739" y="283295"/>
            <a:chExt cx="1729654" cy="848268"/>
          </a:xfrm>
          <a:gradFill>
            <a:gsLst>
              <a:gs pos="0">
                <a:schemeClr val="accent5"/>
              </a:gs>
              <a:gs pos="100000">
                <a:schemeClr val="tx1">
                  <a:alpha val="0"/>
                </a:schemeClr>
              </a:gs>
            </a:gsLst>
            <a:lin ang="0" scaled="1"/>
          </a:gradFill>
        </p:grpSpPr>
        <p:grpSp>
          <p:nvGrpSpPr>
            <p:cNvPr id="289" name="Group 288">
              <a:extLst>
                <a:ext uri="{FF2B5EF4-FFF2-40B4-BE49-F238E27FC236}">
                  <a16:creationId xmlns:a16="http://schemas.microsoft.com/office/drawing/2014/main" id="{3CBCAEF9-A5F4-1500-B6F4-0C57154DE917}"/>
                </a:ext>
              </a:extLst>
            </p:cNvPr>
            <p:cNvGrpSpPr/>
            <p:nvPr/>
          </p:nvGrpSpPr>
          <p:grpSpPr>
            <a:xfrm rot="5400000">
              <a:off x="1055270" y="-538236"/>
              <a:ext cx="86591" cy="1729654"/>
              <a:chOff x="85292" y="59892"/>
              <a:chExt cx="86591" cy="1729654"/>
            </a:xfrm>
            <a:grpFill/>
          </p:grpSpPr>
          <p:sp>
            <p:nvSpPr>
              <p:cNvPr id="323" name="Oval 322">
                <a:extLst>
                  <a:ext uri="{FF2B5EF4-FFF2-40B4-BE49-F238E27FC236}">
                    <a16:creationId xmlns:a16="http://schemas.microsoft.com/office/drawing/2014/main" id="{C347DE15-BDF0-0BFF-1B5A-0FB47F9BE4F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6337D358-83B5-BC6B-BBF1-4469F9E380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8A2A057B-83B4-4539-F161-14EF7EA419D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459A5FAF-1BD5-0706-8BBE-B473B704927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EAC8C398-3A3C-34F7-30D6-F2F8ACD6ED0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A1F6A253-BE50-44BB-73D3-7D24AD206AB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ECB2D414-6D44-F5FE-A40D-1BDF85AB236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B42874AF-BE52-45A5-FFB3-A4ED01D5ACC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4DBF92B9-BFA5-9D89-C67A-5791B944CCD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Oval 331">
                <a:extLst>
                  <a:ext uri="{FF2B5EF4-FFF2-40B4-BE49-F238E27FC236}">
                    <a16:creationId xmlns:a16="http://schemas.microsoft.com/office/drawing/2014/main" id="{B8CA1803-4252-0D3D-C780-A4038E06140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0" name="Group 289">
              <a:extLst>
                <a:ext uri="{FF2B5EF4-FFF2-40B4-BE49-F238E27FC236}">
                  <a16:creationId xmlns:a16="http://schemas.microsoft.com/office/drawing/2014/main" id="{4D0A4A46-161E-A51F-3E38-E9773903F586}"/>
                </a:ext>
              </a:extLst>
            </p:cNvPr>
            <p:cNvGrpSpPr/>
            <p:nvPr/>
          </p:nvGrpSpPr>
          <p:grpSpPr>
            <a:xfrm rot="5400000">
              <a:off x="1055270" y="-284344"/>
              <a:ext cx="86591" cy="1729654"/>
              <a:chOff x="85292" y="59892"/>
              <a:chExt cx="86591" cy="1729654"/>
            </a:xfrm>
            <a:grpFill/>
          </p:grpSpPr>
          <p:sp>
            <p:nvSpPr>
              <p:cNvPr id="313" name="Oval 312">
                <a:extLst>
                  <a:ext uri="{FF2B5EF4-FFF2-40B4-BE49-F238E27FC236}">
                    <a16:creationId xmlns:a16="http://schemas.microsoft.com/office/drawing/2014/main" id="{9B37332A-8DBE-2D1E-6A91-9AFFFE9DE69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07D8F9B2-13D9-709F-C832-CDFE57D5056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CE98F18D-C6A8-A1FE-2B28-FC5668AE2A9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16C338D0-E446-609C-2D11-26C3866173C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FEF9D777-F52D-EC1B-74B4-C269E7C2749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F88F63CB-8EEE-D7B6-6268-12BFD3E8575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6B216934-3F71-B6F4-6B8B-292F8F280D4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61194E36-44A1-D45D-17BB-D82469F52C6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F69C5F8C-81B6-05B8-3D7F-DD93C28F890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a:extLst>
                  <a:ext uri="{FF2B5EF4-FFF2-40B4-BE49-F238E27FC236}">
                    <a16:creationId xmlns:a16="http://schemas.microsoft.com/office/drawing/2014/main" id="{B9C19DF2-05D6-E1C8-57BF-2D1CC8C70D9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1" name="Group 290">
              <a:extLst>
                <a:ext uri="{FF2B5EF4-FFF2-40B4-BE49-F238E27FC236}">
                  <a16:creationId xmlns:a16="http://schemas.microsoft.com/office/drawing/2014/main" id="{A4E1C394-A3D1-6B97-E875-1F764F440F18}"/>
                </a:ext>
              </a:extLst>
            </p:cNvPr>
            <p:cNvGrpSpPr/>
            <p:nvPr/>
          </p:nvGrpSpPr>
          <p:grpSpPr>
            <a:xfrm rot="5400000">
              <a:off x="1055270" y="-30452"/>
              <a:ext cx="86591" cy="1729654"/>
              <a:chOff x="85292" y="59892"/>
              <a:chExt cx="86591" cy="1729654"/>
            </a:xfrm>
            <a:grpFill/>
          </p:grpSpPr>
          <p:sp>
            <p:nvSpPr>
              <p:cNvPr id="303" name="Oval 302">
                <a:extLst>
                  <a:ext uri="{FF2B5EF4-FFF2-40B4-BE49-F238E27FC236}">
                    <a16:creationId xmlns:a16="http://schemas.microsoft.com/office/drawing/2014/main" id="{05AC75B3-E504-1AD2-A904-F471A611859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2F6BEB11-73B9-5378-47E4-176D75E671D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50C600BB-4463-17EA-4467-02FA9FCE42D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F7DD5305-CCB1-D01E-62B5-557D36852F4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C122A331-EBB7-98C0-C3CD-4C894EFDEB0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D08BCBF3-0292-E7F9-7DA5-0FA869CC314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967E6F95-F588-B5B8-E560-7378640C33F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CFF7B328-D68C-5774-FCD9-00CD2A298C8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C3FD5A39-CD2E-49CD-6328-F9D92E465A7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Oval 311">
                <a:extLst>
                  <a:ext uri="{FF2B5EF4-FFF2-40B4-BE49-F238E27FC236}">
                    <a16:creationId xmlns:a16="http://schemas.microsoft.com/office/drawing/2014/main" id="{A52EA974-B431-627D-6D0F-B3320929E4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2" name="Group 291">
              <a:extLst>
                <a:ext uri="{FF2B5EF4-FFF2-40B4-BE49-F238E27FC236}">
                  <a16:creationId xmlns:a16="http://schemas.microsoft.com/office/drawing/2014/main" id="{5C82D5EF-DB2B-1D3D-0E86-FA7E763E1454}"/>
                </a:ext>
              </a:extLst>
            </p:cNvPr>
            <p:cNvGrpSpPr/>
            <p:nvPr/>
          </p:nvGrpSpPr>
          <p:grpSpPr>
            <a:xfrm rot="5400000">
              <a:off x="1055270" y="223441"/>
              <a:ext cx="86591" cy="1729654"/>
              <a:chOff x="85292" y="59892"/>
              <a:chExt cx="86591" cy="1729654"/>
            </a:xfrm>
            <a:grpFill/>
          </p:grpSpPr>
          <p:sp>
            <p:nvSpPr>
              <p:cNvPr id="293" name="Oval 292">
                <a:extLst>
                  <a:ext uri="{FF2B5EF4-FFF2-40B4-BE49-F238E27FC236}">
                    <a16:creationId xmlns:a16="http://schemas.microsoft.com/office/drawing/2014/main" id="{D42D7FDC-09C6-9A28-7F61-ABA0BCE8B3B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50FFBBE8-825A-78D6-034B-01EF3EA88C6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757EC252-163B-802D-738F-0695D52B42B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96002299-F819-C1E2-47F3-03227934ED5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D00CCD78-8D26-7E51-63B9-1293C4B0B67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D9E229B4-E3E0-41DF-7E32-42D9D55BCF2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93BFF9B1-8425-673F-ADE0-1A67958C24A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ED4551C4-EF16-3EEB-3E05-367515059DC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D6520CD7-83F2-B5B0-4BF4-15DB6B123DE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12FB4CA9-6D3A-8FAD-FB39-7D5CA38E43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3" name="Group 332">
            <a:extLst>
              <a:ext uri="{FF2B5EF4-FFF2-40B4-BE49-F238E27FC236}">
                <a16:creationId xmlns:a16="http://schemas.microsoft.com/office/drawing/2014/main" id="{C58490AA-876B-72CB-702E-03B1B14EF5AD}"/>
              </a:ext>
            </a:extLst>
          </p:cNvPr>
          <p:cNvGrpSpPr/>
          <p:nvPr/>
        </p:nvGrpSpPr>
        <p:grpSpPr>
          <a:xfrm rot="16200000" flipV="1">
            <a:off x="2234732" y="6253149"/>
            <a:ext cx="1729654" cy="848268"/>
            <a:chOff x="233739" y="283295"/>
            <a:chExt cx="1729654" cy="848268"/>
          </a:xfrm>
          <a:gradFill>
            <a:gsLst>
              <a:gs pos="0">
                <a:schemeClr val="accent5"/>
              </a:gs>
              <a:gs pos="100000">
                <a:schemeClr val="tx1">
                  <a:alpha val="0"/>
                </a:schemeClr>
              </a:gs>
            </a:gsLst>
            <a:lin ang="0" scaled="1"/>
          </a:gradFill>
        </p:grpSpPr>
        <p:grpSp>
          <p:nvGrpSpPr>
            <p:cNvPr id="334" name="Group 333">
              <a:extLst>
                <a:ext uri="{FF2B5EF4-FFF2-40B4-BE49-F238E27FC236}">
                  <a16:creationId xmlns:a16="http://schemas.microsoft.com/office/drawing/2014/main" id="{5F132728-8D49-560F-0A03-A4C8337EEE4B}"/>
                </a:ext>
              </a:extLst>
            </p:cNvPr>
            <p:cNvGrpSpPr/>
            <p:nvPr/>
          </p:nvGrpSpPr>
          <p:grpSpPr>
            <a:xfrm rot="5400000">
              <a:off x="1055270" y="-538236"/>
              <a:ext cx="86591" cy="1729654"/>
              <a:chOff x="85292" y="59892"/>
              <a:chExt cx="86591" cy="1729654"/>
            </a:xfrm>
            <a:grpFill/>
          </p:grpSpPr>
          <p:sp>
            <p:nvSpPr>
              <p:cNvPr id="368" name="Oval 367">
                <a:extLst>
                  <a:ext uri="{FF2B5EF4-FFF2-40B4-BE49-F238E27FC236}">
                    <a16:creationId xmlns:a16="http://schemas.microsoft.com/office/drawing/2014/main" id="{89DC542F-6A38-8879-3AB8-604CB43BB2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D25C9544-0E05-24BC-08BC-8A1AC33AECE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F1617E79-343F-80CD-0ADE-1D84B129A74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F429050D-7341-E5E1-29C2-3DE7FEE0F4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1370AC4A-FB21-8E11-57D9-15818CD54C7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9483C870-ABE6-E10C-A39E-F0CD724C59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E2D21186-466C-54A0-3C1D-C1EB2C5A1FE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C869DE36-DCB5-E389-0440-4CF0F5BFBB1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74B45A56-6B1B-F1EB-D8D4-11C2B687440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92826603-D304-1EA8-BD5A-B5D64D65B09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5" name="Group 334">
              <a:extLst>
                <a:ext uri="{FF2B5EF4-FFF2-40B4-BE49-F238E27FC236}">
                  <a16:creationId xmlns:a16="http://schemas.microsoft.com/office/drawing/2014/main" id="{EC259CF5-971C-48F2-5CA8-6D73DBF2D4EE}"/>
                </a:ext>
              </a:extLst>
            </p:cNvPr>
            <p:cNvGrpSpPr/>
            <p:nvPr/>
          </p:nvGrpSpPr>
          <p:grpSpPr>
            <a:xfrm rot="5400000">
              <a:off x="1055270" y="-284344"/>
              <a:ext cx="86591" cy="1729654"/>
              <a:chOff x="85292" y="59892"/>
              <a:chExt cx="86591" cy="1729654"/>
            </a:xfrm>
            <a:grpFill/>
          </p:grpSpPr>
          <p:sp>
            <p:nvSpPr>
              <p:cNvPr id="358" name="Oval 357">
                <a:extLst>
                  <a:ext uri="{FF2B5EF4-FFF2-40B4-BE49-F238E27FC236}">
                    <a16:creationId xmlns:a16="http://schemas.microsoft.com/office/drawing/2014/main" id="{DCC1B7E8-AE03-AF90-6773-E4C96E6232B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DAB3CAEE-D417-198E-1351-54C12F8339C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09AC8D54-7836-CFCD-B7BD-E5AFD6064DC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39A776C2-7323-3287-1EAC-7609DAB6541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60371D2C-5A61-70F5-9B5E-88A2A05A88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AE8AE800-9A09-EFED-54C7-88850AAEA24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63CF741F-E3E9-2007-131B-55345D8E8F4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D053129F-CD26-68F1-B7AB-C09AEA5DDED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18F49AA1-97F4-C058-AC31-17E0D95B527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D53D70FD-702E-4827-0E27-290C2C91266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6" name="Group 335">
              <a:extLst>
                <a:ext uri="{FF2B5EF4-FFF2-40B4-BE49-F238E27FC236}">
                  <a16:creationId xmlns:a16="http://schemas.microsoft.com/office/drawing/2014/main" id="{FCF16BC7-A9E0-3DFB-FC12-2F2912212057}"/>
                </a:ext>
              </a:extLst>
            </p:cNvPr>
            <p:cNvGrpSpPr/>
            <p:nvPr/>
          </p:nvGrpSpPr>
          <p:grpSpPr>
            <a:xfrm rot="5400000">
              <a:off x="1055270" y="-30452"/>
              <a:ext cx="86591" cy="1729654"/>
              <a:chOff x="85292" y="59892"/>
              <a:chExt cx="86591" cy="1729654"/>
            </a:xfrm>
            <a:grpFill/>
          </p:grpSpPr>
          <p:sp>
            <p:nvSpPr>
              <p:cNvPr id="348" name="Oval 347">
                <a:extLst>
                  <a:ext uri="{FF2B5EF4-FFF2-40B4-BE49-F238E27FC236}">
                    <a16:creationId xmlns:a16="http://schemas.microsoft.com/office/drawing/2014/main" id="{93EA0C16-1554-BE7E-400C-E02D6412EA5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BBCB34FC-5F7D-4992-9A0F-75559D09B7A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B25D9296-40EB-04AE-9A1E-DC2BC68D4E9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77AEC86C-7C50-BCA1-2061-69C03CF09FF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10523470-559B-9A0D-EA59-B715F9DD0C9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7908BB17-1FCE-8340-6DBF-C991462B4C1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9CD73E02-839A-43D7-665F-DAB7FC59CC9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DC967537-B85C-D181-1DD4-7F453B58B01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292D5F20-6E91-E8C1-D72B-491CFCD1E7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3E578A1E-FD80-2561-D7F2-FC63C5AF7C7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7" name="Group 336">
              <a:extLst>
                <a:ext uri="{FF2B5EF4-FFF2-40B4-BE49-F238E27FC236}">
                  <a16:creationId xmlns:a16="http://schemas.microsoft.com/office/drawing/2014/main" id="{6803917D-62D3-A3B3-1C85-D82B78D5D914}"/>
                </a:ext>
              </a:extLst>
            </p:cNvPr>
            <p:cNvGrpSpPr/>
            <p:nvPr/>
          </p:nvGrpSpPr>
          <p:grpSpPr>
            <a:xfrm rot="5400000">
              <a:off x="1055270" y="223441"/>
              <a:ext cx="86591" cy="1729654"/>
              <a:chOff x="85292" y="59892"/>
              <a:chExt cx="86591" cy="1729654"/>
            </a:xfrm>
            <a:grpFill/>
          </p:grpSpPr>
          <p:sp>
            <p:nvSpPr>
              <p:cNvPr id="338" name="Oval 337">
                <a:extLst>
                  <a:ext uri="{FF2B5EF4-FFF2-40B4-BE49-F238E27FC236}">
                    <a16:creationId xmlns:a16="http://schemas.microsoft.com/office/drawing/2014/main" id="{E0DF8027-5B76-CA9F-B8F9-388DE76A478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C079AAFC-E941-CB16-D1FE-D0C76779475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8F5479C9-6E31-9A75-BC83-5A2F2A6D3B8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0B70350A-AE64-FC22-F991-B324A04BB8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Oval 341">
                <a:extLst>
                  <a:ext uri="{FF2B5EF4-FFF2-40B4-BE49-F238E27FC236}">
                    <a16:creationId xmlns:a16="http://schemas.microsoft.com/office/drawing/2014/main" id="{610D2CA5-718A-78B4-BB59-2DBD3F4DEE5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Oval 342">
                <a:extLst>
                  <a:ext uri="{FF2B5EF4-FFF2-40B4-BE49-F238E27FC236}">
                    <a16:creationId xmlns:a16="http://schemas.microsoft.com/office/drawing/2014/main" id="{8F6D8A68-F6FF-985D-33C1-2EB11580281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Oval 343">
                <a:extLst>
                  <a:ext uri="{FF2B5EF4-FFF2-40B4-BE49-F238E27FC236}">
                    <a16:creationId xmlns:a16="http://schemas.microsoft.com/office/drawing/2014/main" id="{031CC62A-F7BF-FF06-1043-ACBB48ED56C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Oval 344">
                <a:extLst>
                  <a:ext uri="{FF2B5EF4-FFF2-40B4-BE49-F238E27FC236}">
                    <a16:creationId xmlns:a16="http://schemas.microsoft.com/office/drawing/2014/main" id="{6C5685B1-C7FA-CE49-A41D-F51FDE67788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Oval 345">
                <a:extLst>
                  <a:ext uri="{FF2B5EF4-FFF2-40B4-BE49-F238E27FC236}">
                    <a16:creationId xmlns:a16="http://schemas.microsoft.com/office/drawing/2014/main" id="{BF9F838E-0FD0-F70A-9F07-BDED6A958C4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a:extLst>
                  <a:ext uri="{FF2B5EF4-FFF2-40B4-BE49-F238E27FC236}">
                    <a16:creationId xmlns:a16="http://schemas.microsoft.com/office/drawing/2014/main" id="{A369F9CA-890C-B404-4E17-4957E65B871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78" name="Rectangle: Rounded Corners 377">
            <a:hlinkClick r:id="rId7" action="ppaction://hlinksldjump"/>
            <a:hlinkHover r:id="" action="ppaction://noaction" highlightClick="1"/>
            <a:extLst>
              <a:ext uri="{FF2B5EF4-FFF2-40B4-BE49-F238E27FC236}">
                <a16:creationId xmlns:a16="http://schemas.microsoft.com/office/drawing/2014/main" id="{EF62F6ED-041E-91EE-7240-6CA292ACB6BC}"/>
              </a:ext>
            </a:extLst>
          </p:cNvPr>
          <p:cNvSpPr/>
          <p:nvPr/>
        </p:nvSpPr>
        <p:spPr>
          <a:xfrm>
            <a:off x="809624"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TextBox 378">
            <a:extLst>
              <a:ext uri="{FF2B5EF4-FFF2-40B4-BE49-F238E27FC236}">
                <a16:creationId xmlns:a16="http://schemas.microsoft.com/office/drawing/2014/main" id="{0E72E353-BBAB-F379-37FF-A10506A0174F}"/>
              </a:ext>
            </a:extLst>
          </p:cNvPr>
          <p:cNvSpPr txBox="1"/>
          <p:nvPr/>
        </p:nvSpPr>
        <p:spPr>
          <a:xfrm>
            <a:off x="1077031" y="2789182"/>
            <a:ext cx="1902265" cy="769441"/>
          </a:xfrm>
          <a:prstGeom prst="rect">
            <a:avLst/>
          </a:prstGeom>
          <a:noFill/>
        </p:spPr>
        <p:txBody>
          <a:bodyPr wrap="square" lIns="0" rIns="0" rtlCol="0">
            <a:spAutoFit/>
          </a:bodyPr>
          <a:lstStyle/>
          <a:p>
            <a:r>
              <a:rPr lang="id-ID" sz="4400" b="1" dirty="0">
                <a:solidFill>
                  <a:srgbClr val="168DA5"/>
                </a:solidFill>
              </a:rPr>
              <a:t>0</a:t>
            </a:r>
            <a:r>
              <a:rPr lang="en-US" sz="4400" b="1" dirty="0">
                <a:solidFill>
                  <a:srgbClr val="168DA5"/>
                </a:solidFill>
              </a:rPr>
              <a:t>5</a:t>
            </a:r>
            <a:r>
              <a:rPr lang="id-ID" sz="4400" b="1" dirty="0">
                <a:solidFill>
                  <a:srgbClr val="168DA5"/>
                </a:solidFill>
              </a:rPr>
              <a:t>.</a:t>
            </a:r>
            <a:endParaRPr lang="en-US" sz="4400" b="1" dirty="0">
              <a:solidFill>
                <a:srgbClr val="168DA5"/>
              </a:solidFill>
            </a:endParaRPr>
          </a:p>
        </p:txBody>
      </p:sp>
      <p:sp>
        <p:nvSpPr>
          <p:cNvPr id="380" name="TextBox 379">
            <a:extLst>
              <a:ext uri="{FF2B5EF4-FFF2-40B4-BE49-F238E27FC236}">
                <a16:creationId xmlns:a16="http://schemas.microsoft.com/office/drawing/2014/main" id="{5CDCE594-C7B8-7A4A-917E-2C3F6D474C34}"/>
              </a:ext>
            </a:extLst>
          </p:cNvPr>
          <p:cNvSpPr txBox="1"/>
          <p:nvPr/>
        </p:nvSpPr>
        <p:spPr>
          <a:xfrm>
            <a:off x="1077030" y="4310339"/>
            <a:ext cx="1902265" cy="954107"/>
          </a:xfrm>
          <a:prstGeom prst="rect">
            <a:avLst/>
          </a:prstGeom>
          <a:noFill/>
        </p:spPr>
        <p:txBody>
          <a:bodyPr wrap="square" lIns="0" rIns="0" rtlCol="0">
            <a:spAutoFit/>
          </a:bodyPr>
          <a:lstStyle/>
          <a:p>
            <a:r>
              <a:rPr lang="en-US" sz="1400" dirty="0">
                <a:solidFill>
                  <a:schemeClr val="bg1">
                    <a:lumMod val="50000"/>
                  </a:schemeClr>
                </a:solidFill>
                <a:latin typeface="Söhne"/>
              </a:rPr>
              <a:t>An analysis of the advantages associated with the Baum-Welch Algorithm.</a:t>
            </a:r>
            <a:endParaRPr lang="id-ID" sz="1400" dirty="0">
              <a:solidFill>
                <a:schemeClr val="bg1">
                  <a:lumMod val="50000"/>
                </a:schemeClr>
              </a:solidFill>
              <a:latin typeface="Söhne"/>
            </a:endParaRPr>
          </a:p>
        </p:txBody>
      </p:sp>
      <p:sp>
        <p:nvSpPr>
          <p:cNvPr id="381" name="TextBox 380">
            <a:extLst>
              <a:ext uri="{FF2B5EF4-FFF2-40B4-BE49-F238E27FC236}">
                <a16:creationId xmlns:a16="http://schemas.microsoft.com/office/drawing/2014/main" id="{8F346B34-DC26-0F84-F87E-0C8B36D32D29}"/>
              </a:ext>
            </a:extLst>
          </p:cNvPr>
          <p:cNvSpPr txBox="1"/>
          <p:nvPr/>
        </p:nvSpPr>
        <p:spPr>
          <a:xfrm>
            <a:off x="1077031" y="3576484"/>
            <a:ext cx="1986677" cy="707886"/>
          </a:xfrm>
          <a:prstGeom prst="rect">
            <a:avLst/>
          </a:prstGeom>
          <a:noFill/>
        </p:spPr>
        <p:txBody>
          <a:bodyPr wrap="square" lIns="0" rIns="0" rtlCol="0">
            <a:spAutoFit/>
          </a:bodyPr>
          <a:lstStyle/>
          <a:p>
            <a:r>
              <a:rPr lang="en-US" sz="2000" b="1" dirty="0"/>
              <a:t>Baum-Welch Algorithm Gains</a:t>
            </a:r>
          </a:p>
        </p:txBody>
      </p:sp>
      <p:cxnSp>
        <p:nvCxnSpPr>
          <p:cNvPr id="382" name="Straight Connector 381">
            <a:extLst>
              <a:ext uri="{FF2B5EF4-FFF2-40B4-BE49-F238E27FC236}">
                <a16:creationId xmlns:a16="http://schemas.microsoft.com/office/drawing/2014/main" id="{F8DABA46-349B-354F-A4CF-1D404DD12753}"/>
              </a:ext>
            </a:extLst>
          </p:cNvPr>
          <p:cNvCxnSpPr>
            <a:cxnSpLocks/>
          </p:cNvCxnSpPr>
          <p:nvPr/>
        </p:nvCxnSpPr>
        <p:spPr>
          <a:xfrm>
            <a:off x="2819400"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210F38CA-1F95-A528-9A24-E35F45479032}"/>
              </a:ext>
            </a:extLst>
          </p:cNvPr>
          <p:cNvGrpSpPr/>
          <p:nvPr/>
        </p:nvGrpSpPr>
        <p:grpSpPr>
          <a:xfrm rot="16200000" flipV="1">
            <a:off x="3164813" y="6610192"/>
            <a:ext cx="1729654" cy="848268"/>
            <a:chOff x="233739" y="283295"/>
            <a:chExt cx="1729654" cy="848268"/>
          </a:xfrm>
          <a:gradFill>
            <a:gsLst>
              <a:gs pos="0">
                <a:schemeClr val="accent5"/>
              </a:gs>
              <a:gs pos="100000">
                <a:schemeClr val="tx1">
                  <a:alpha val="0"/>
                </a:schemeClr>
              </a:gs>
            </a:gsLst>
            <a:lin ang="0" scaled="1"/>
          </a:gradFill>
        </p:grpSpPr>
        <p:grpSp>
          <p:nvGrpSpPr>
            <p:cNvPr id="384" name="Group 383">
              <a:extLst>
                <a:ext uri="{FF2B5EF4-FFF2-40B4-BE49-F238E27FC236}">
                  <a16:creationId xmlns:a16="http://schemas.microsoft.com/office/drawing/2014/main" id="{6A038C57-A04E-B87F-B6A4-690B4F82FC3B}"/>
                </a:ext>
              </a:extLst>
            </p:cNvPr>
            <p:cNvGrpSpPr/>
            <p:nvPr/>
          </p:nvGrpSpPr>
          <p:grpSpPr>
            <a:xfrm rot="5400000">
              <a:off x="1055270" y="-538236"/>
              <a:ext cx="86591" cy="1729654"/>
              <a:chOff x="85292" y="59892"/>
              <a:chExt cx="86591" cy="1729654"/>
            </a:xfrm>
            <a:grpFill/>
          </p:grpSpPr>
          <p:sp>
            <p:nvSpPr>
              <p:cNvPr id="418" name="Oval 417">
                <a:extLst>
                  <a:ext uri="{FF2B5EF4-FFF2-40B4-BE49-F238E27FC236}">
                    <a16:creationId xmlns:a16="http://schemas.microsoft.com/office/drawing/2014/main" id="{2027A818-AF3C-F477-5E90-1F53E7C47F9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9" name="Oval 418">
                <a:extLst>
                  <a:ext uri="{FF2B5EF4-FFF2-40B4-BE49-F238E27FC236}">
                    <a16:creationId xmlns:a16="http://schemas.microsoft.com/office/drawing/2014/main" id="{36545EA2-C8FD-DA19-AAAD-482FE7CF91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0" name="Oval 419">
                <a:extLst>
                  <a:ext uri="{FF2B5EF4-FFF2-40B4-BE49-F238E27FC236}">
                    <a16:creationId xmlns:a16="http://schemas.microsoft.com/office/drawing/2014/main" id="{0CBB89AB-B808-7E35-BB95-C748EFF7124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1" name="Oval 420">
                <a:extLst>
                  <a:ext uri="{FF2B5EF4-FFF2-40B4-BE49-F238E27FC236}">
                    <a16:creationId xmlns:a16="http://schemas.microsoft.com/office/drawing/2014/main" id="{B7F70213-8C51-9EC2-A185-CD763CFE431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2" name="Oval 421">
                <a:extLst>
                  <a:ext uri="{FF2B5EF4-FFF2-40B4-BE49-F238E27FC236}">
                    <a16:creationId xmlns:a16="http://schemas.microsoft.com/office/drawing/2014/main" id="{C935A30E-0F77-3F6D-DB47-3DA637FE00A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Oval 422">
                <a:extLst>
                  <a:ext uri="{FF2B5EF4-FFF2-40B4-BE49-F238E27FC236}">
                    <a16:creationId xmlns:a16="http://schemas.microsoft.com/office/drawing/2014/main" id="{109BD9B7-E8C0-552D-0B15-44F0F814E1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Oval 423">
                <a:extLst>
                  <a:ext uri="{FF2B5EF4-FFF2-40B4-BE49-F238E27FC236}">
                    <a16:creationId xmlns:a16="http://schemas.microsoft.com/office/drawing/2014/main" id="{E7A354FB-4A37-B03D-E667-A02FF47D313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5" name="Oval 424">
                <a:extLst>
                  <a:ext uri="{FF2B5EF4-FFF2-40B4-BE49-F238E27FC236}">
                    <a16:creationId xmlns:a16="http://schemas.microsoft.com/office/drawing/2014/main" id="{E8DE9AC0-C46C-13D1-3AEB-DBE8A3602A6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 name="Oval 425">
                <a:extLst>
                  <a:ext uri="{FF2B5EF4-FFF2-40B4-BE49-F238E27FC236}">
                    <a16:creationId xmlns:a16="http://schemas.microsoft.com/office/drawing/2014/main" id="{4D054271-9435-8E54-B0E1-45A9A3717A6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 name="Oval 426">
                <a:extLst>
                  <a:ext uri="{FF2B5EF4-FFF2-40B4-BE49-F238E27FC236}">
                    <a16:creationId xmlns:a16="http://schemas.microsoft.com/office/drawing/2014/main" id="{2A965549-EEBD-179F-D1C3-D5F102FB769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5" name="Group 384">
              <a:extLst>
                <a:ext uri="{FF2B5EF4-FFF2-40B4-BE49-F238E27FC236}">
                  <a16:creationId xmlns:a16="http://schemas.microsoft.com/office/drawing/2014/main" id="{9FC16EB8-C152-763A-3A2E-136DE81C5B3B}"/>
                </a:ext>
              </a:extLst>
            </p:cNvPr>
            <p:cNvGrpSpPr/>
            <p:nvPr/>
          </p:nvGrpSpPr>
          <p:grpSpPr>
            <a:xfrm rot="5400000">
              <a:off x="1055270" y="-284344"/>
              <a:ext cx="86591" cy="1729654"/>
              <a:chOff x="85292" y="59892"/>
              <a:chExt cx="86591" cy="1729654"/>
            </a:xfrm>
            <a:grpFill/>
          </p:grpSpPr>
          <p:sp>
            <p:nvSpPr>
              <p:cNvPr id="408" name="Oval 407">
                <a:extLst>
                  <a:ext uri="{FF2B5EF4-FFF2-40B4-BE49-F238E27FC236}">
                    <a16:creationId xmlns:a16="http://schemas.microsoft.com/office/drawing/2014/main" id="{9B795022-FD92-DE4E-AEC3-30427EC61F5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Oval 408">
                <a:extLst>
                  <a:ext uri="{FF2B5EF4-FFF2-40B4-BE49-F238E27FC236}">
                    <a16:creationId xmlns:a16="http://schemas.microsoft.com/office/drawing/2014/main" id="{8D12BD2E-D541-E2EF-CF6B-3885F6F5B39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Oval 409">
                <a:extLst>
                  <a:ext uri="{FF2B5EF4-FFF2-40B4-BE49-F238E27FC236}">
                    <a16:creationId xmlns:a16="http://schemas.microsoft.com/office/drawing/2014/main" id="{494753E0-7E7A-8BBD-15EC-D1780F81F78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Oval 410">
                <a:extLst>
                  <a:ext uri="{FF2B5EF4-FFF2-40B4-BE49-F238E27FC236}">
                    <a16:creationId xmlns:a16="http://schemas.microsoft.com/office/drawing/2014/main" id="{40E59A96-B3AD-EFF9-2FBC-FAFDF4A0924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Oval 411">
                <a:extLst>
                  <a:ext uri="{FF2B5EF4-FFF2-40B4-BE49-F238E27FC236}">
                    <a16:creationId xmlns:a16="http://schemas.microsoft.com/office/drawing/2014/main" id="{C53E90A9-5C71-378D-3D2D-222A7B6BDE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3" name="Oval 412">
                <a:extLst>
                  <a:ext uri="{FF2B5EF4-FFF2-40B4-BE49-F238E27FC236}">
                    <a16:creationId xmlns:a16="http://schemas.microsoft.com/office/drawing/2014/main" id="{9F2D1565-B3CD-AE3F-A849-584A95B3C73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Oval 413">
                <a:extLst>
                  <a:ext uri="{FF2B5EF4-FFF2-40B4-BE49-F238E27FC236}">
                    <a16:creationId xmlns:a16="http://schemas.microsoft.com/office/drawing/2014/main" id="{C4193BB3-1F3D-FA05-A2DE-0D313688580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Oval 414">
                <a:extLst>
                  <a:ext uri="{FF2B5EF4-FFF2-40B4-BE49-F238E27FC236}">
                    <a16:creationId xmlns:a16="http://schemas.microsoft.com/office/drawing/2014/main" id="{E59FFFAC-95CC-9BDC-4D43-E77BDB04DE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Oval 415">
                <a:extLst>
                  <a:ext uri="{FF2B5EF4-FFF2-40B4-BE49-F238E27FC236}">
                    <a16:creationId xmlns:a16="http://schemas.microsoft.com/office/drawing/2014/main" id="{6B47AB9A-E7F3-6163-55FE-1E8D6BD9AA4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Oval 416">
                <a:extLst>
                  <a:ext uri="{FF2B5EF4-FFF2-40B4-BE49-F238E27FC236}">
                    <a16:creationId xmlns:a16="http://schemas.microsoft.com/office/drawing/2014/main" id="{B12FA5F9-64C2-F6D2-7A63-C9E2A16A78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6" name="Group 385">
              <a:extLst>
                <a:ext uri="{FF2B5EF4-FFF2-40B4-BE49-F238E27FC236}">
                  <a16:creationId xmlns:a16="http://schemas.microsoft.com/office/drawing/2014/main" id="{B39717EA-301F-77B0-D7F5-BFEBCB66E40F}"/>
                </a:ext>
              </a:extLst>
            </p:cNvPr>
            <p:cNvGrpSpPr/>
            <p:nvPr/>
          </p:nvGrpSpPr>
          <p:grpSpPr>
            <a:xfrm rot="5400000">
              <a:off x="1055270" y="-30452"/>
              <a:ext cx="86591" cy="1729654"/>
              <a:chOff x="85292" y="59892"/>
              <a:chExt cx="86591" cy="1729654"/>
            </a:xfrm>
            <a:grpFill/>
          </p:grpSpPr>
          <p:sp>
            <p:nvSpPr>
              <p:cNvPr id="398" name="Oval 397">
                <a:extLst>
                  <a:ext uri="{FF2B5EF4-FFF2-40B4-BE49-F238E27FC236}">
                    <a16:creationId xmlns:a16="http://schemas.microsoft.com/office/drawing/2014/main" id="{81C4B95D-A84F-22B0-F773-47C37979436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9" name="Oval 398">
                <a:extLst>
                  <a:ext uri="{FF2B5EF4-FFF2-40B4-BE49-F238E27FC236}">
                    <a16:creationId xmlns:a16="http://schemas.microsoft.com/office/drawing/2014/main" id="{068D34D1-0474-B71B-0478-5C04F74E32C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Oval 399">
                <a:extLst>
                  <a:ext uri="{FF2B5EF4-FFF2-40B4-BE49-F238E27FC236}">
                    <a16:creationId xmlns:a16="http://schemas.microsoft.com/office/drawing/2014/main" id="{747D53E3-8034-F036-29C5-991FFF41CF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Oval 400">
                <a:extLst>
                  <a:ext uri="{FF2B5EF4-FFF2-40B4-BE49-F238E27FC236}">
                    <a16:creationId xmlns:a16="http://schemas.microsoft.com/office/drawing/2014/main" id="{5D1027A8-E198-01F0-0218-241FE2F62A8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Oval 401">
                <a:extLst>
                  <a:ext uri="{FF2B5EF4-FFF2-40B4-BE49-F238E27FC236}">
                    <a16:creationId xmlns:a16="http://schemas.microsoft.com/office/drawing/2014/main" id="{EC7E874E-3BF9-A0D9-38AB-B65EF54E122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Oval 402">
                <a:extLst>
                  <a:ext uri="{FF2B5EF4-FFF2-40B4-BE49-F238E27FC236}">
                    <a16:creationId xmlns:a16="http://schemas.microsoft.com/office/drawing/2014/main" id="{6C869123-98BB-73AF-57CF-09965FFB317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Oval 403">
                <a:extLst>
                  <a:ext uri="{FF2B5EF4-FFF2-40B4-BE49-F238E27FC236}">
                    <a16:creationId xmlns:a16="http://schemas.microsoft.com/office/drawing/2014/main" id="{74CF6754-EC16-3791-4718-AD094D6316E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93E0A07D-42E1-2706-DED7-5312F72770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Oval 405">
                <a:extLst>
                  <a:ext uri="{FF2B5EF4-FFF2-40B4-BE49-F238E27FC236}">
                    <a16:creationId xmlns:a16="http://schemas.microsoft.com/office/drawing/2014/main" id="{21C355C0-848F-5406-DBD5-0930D3990EB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Oval 406">
                <a:extLst>
                  <a:ext uri="{FF2B5EF4-FFF2-40B4-BE49-F238E27FC236}">
                    <a16:creationId xmlns:a16="http://schemas.microsoft.com/office/drawing/2014/main" id="{5FFD9632-6A0C-E614-9367-7830C172954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7" name="Group 386">
              <a:extLst>
                <a:ext uri="{FF2B5EF4-FFF2-40B4-BE49-F238E27FC236}">
                  <a16:creationId xmlns:a16="http://schemas.microsoft.com/office/drawing/2014/main" id="{5B0374A3-051F-E1BD-3FDB-6FC5455172E5}"/>
                </a:ext>
              </a:extLst>
            </p:cNvPr>
            <p:cNvGrpSpPr/>
            <p:nvPr/>
          </p:nvGrpSpPr>
          <p:grpSpPr>
            <a:xfrm rot="5400000">
              <a:off x="1055270" y="223441"/>
              <a:ext cx="86591" cy="1729654"/>
              <a:chOff x="85292" y="59892"/>
              <a:chExt cx="86591" cy="1729654"/>
            </a:xfrm>
            <a:grpFill/>
          </p:grpSpPr>
          <p:sp>
            <p:nvSpPr>
              <p:cNvPr id="388" name="Oval 387">
                <a:extLst>
                  <a:ext uri="{FF2B5EF4-FFF2-40B4-BE49-F238E27FC236}">
                    <a16:creationId xmlns:a16="http://schemas.microsoft.com/office/drawing/2014/main" id="{7CEFCEFD-5B7C-FB4D-B1C3-9A3E110867D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4A173C9B-ECDE-825D-1DD6-70C62354E8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42536AFE-4CBE-178E-ACDD-313B0CAEA6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D36FE15F-D93B-2696-A785-4A67C3EB111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0F47341C-0890-3511-11CD-5A41C3C0FC2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2B407363-14B0-57F4-67CF-61B412F094F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2ED4E2EA-BF8D-186D-E0CD-672B84BE707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Oval 394">
                <a:extLst>
                  <a:ext uri="{FF2B5EF4-FFF2-40B4-BE49-F238E27FC236}">
                    <a16:creationId xmlns:a16="http://schemas.microsoft.com/office/drawing/2014/main" id="{BBF10E2D-8292-3161-A1AF-C17721F8A57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Oval 395">
                <a:extLst>
                  <a:ext uri="{FF2B5EF4-FFF2-40B4-BE49-F238E27FC236}">
                    <a16:creationId xmlns:a16="http://schemas.microsoft.com/office/drawing/2014/main" id="{C1BDD6C6-0970-D35B-B171-3C3D96E5302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Oval 396">
                <a:extLst>
                  <a:ext uri="{FF2B5EF4-FFF2-40B4-BE49-F238E27FC236}">
                    <a16:creationId xmlns:a16="http://schemas.microsoft.com/office/drawing/2014/main" id="{268F5EB1-3426-FC56-7875-9578350D21B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28" name="Straight Connector 427">
            <a:extLst>
              <a:ext uri="{FF2B5EF4-FFF2-40B4-BE49-F238E27FC236}">
                <a16:creationId xmlns:a16="http://schemas.microsoft.com/office/drawing/2014/main" id="{3A6E1738-5184-6B5C-4C7E-F20E4E370962}"/>
              </a:ext>
            </a:extLst>
          </p:cNvPr>
          <p:cNvCxnSpPr>
            <a:cxnSpLocks/>
          </p:cNvCxnSpPr>
          <p:nvPr/>
        </p:nvCxnSpPr>
        <p:spPr>
          <a:xfrm flipH="1">
            <a:off x="10476998" y="6146758"/>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29" name="Oval 428">
            <a:extLst>
              <a:ext uri="{FF2B5EF4-FFF2-40B4-BE49-F238E27FC236}">
                <a16:creationId xmlns:a16="http://schemas.microsoft.com/office/drawing/2014/main" id="{62934BED-8582-AF37-ABCA-1667DD8D3274}"/>
              </a:ext>
            </a:extLst>
          </p:cNvPr>
          <p:cNvSpPr/>
          <p:nvPr/>
        </p:nvSpPr>
        <p:spPr>
          <a:xfrm>
            <a:off x="9478159" y="5611469"/>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 name="Oval 429">
            <a:extLst>
              <a:ext uri="{FF2B5EF4-FFF2-40B4-BE49-F238E27FC236}">
                <a16:creationId xmlns:a16="http://schemas.microsoft.com/office/drawing/2014/main" id="{A8DB804E-7D9E-F3AB-D177-223AFC6030A3}"/>
              </a:ext>
            </a:extLst>
          </p:cNvPr>
          <p:cNvSpPr/>
          <p:nvPr/>
        </p:nvSpPr>
        <p:spPr>
          <a:xfrm>
            <a:off x="10187859" y="5857620"/>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1" name="Rectangle: Rounded Corners 430">
            <a:hlinkClick r:id="rId8" action="ppaction://hlinksldjump"/>
            <a:extLst>
              <a:ext uri="{FF2B5EF4-FFF2-40B4-BE49-F238E27FC236}">
                <a16:creationId xmlns:a16="http://schemas.microsoft.com/office/drawing/2014/main" id="{AC7D64C4-A37F-9F5F-55C1-8DDFD2DD6BB2}"/>
              </a:ext>
            </a:extLst>
          </p:cNvPr>
          <p:cNvSpPr/>
          <p:nvPr/>
        </p:nvSpPr>
        <p:spPr>
          <a:xfrm>
            <a:off x="8945297"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TextBox 431">
            <a:extLst>
              <a:ext uri="{FF2B5EF4-FFF2-40B4-BE49-F238E27FC236}">
                <a16:creationId xmlns:a16="http://schemas.microsoft.com/office/drawing/2014/main" id="{2A224840-D8F7-6A4D-8882-A26BC89F4563}"/>
              </a:ext>
            </a:extLst>
          </p:cNvPr>
          <p:cNvSpPr txBox="1"/>
          <p:nvPr/>
        </p:nvSpPr>
        <p:spPr>
          <a:xfrm>
            <a:off x="9212704" y="2789182"/>
            <a:ext cx="1902264"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id-ID" sz="4400" dirty="0">
                <a:solidFill>
                  <a:srgbClr val="168DA5"/>
                </a:solidFill>
              </a:rPr>
              <a:t>0</a:t>
            </a:r>
            <a:r>
              <a:rPr lang="en-US" sz="4400" dirty="0">
                <a:solidFill>
                  <a:srgbClr val="168DA5"/>
                </a:solidFill>
              </a:rPr>
              <a:t>8</a:t>
            </a:r>
            <a:r>
              <a:rPr lang="id-ID" sz="4400" dirty="0">
                <a:solidFill>
                  <a:srgbClr val="168DA5"/>
                </a:solidFill>
              </a:rPr>
              <a:t>.</a:t>
            </a:r>
            <a:endParaRPr lang="en-US" sz="4400" dirty="0">
              <a:solidFill>
                <a:srgbClr val="168DA5"/>
              </a:solidFill>
            </a:endParaRPr>
          </a:p>
        </p:txBody>
      </p:sp>
      <p:sp>
        <p:nvSpPr>
          <p:cNvPr id="433" name="TextBox 432">
            <a:extLst>
              <a:ext uri="{FF2B5EF4-FFF2-40B4-BE49-F238E27FC236}">
                <a16:creationId xmlns:a16="http://schemas.microsoft.com/office/drawing/2014/main" id="{0407A8E5-7E02-A87B-FF4B-24788E5A829D}"/>
              </a:ext>
            </a:extLst>
          </p:cNvPr>
          <p:cNvSpPr txBox="1"/>
          <p:nvPr/>
        </p:nvSpPr>
        <p:spPr>
          <a:xfrm>
            <a:off x="9211118" y="4265965"/>
            <a:ext cx="1902265" cy="1169551"/>
          </a:xfrm>
          <a:prstGeom prst="rect">
            <a:avLst/>
          </a:prstGeom>
          <a:noFill/>
        </p:spPr>
        <p:txBody>
          <a:bodyPr wrap="square" lIns="0" rIns="0" rtlCol="0">
            <a:spAutoFit/>
          </a:bodyPr>
          <a:lstStyle/>
          <a:p>
            <a:r>
              <a:rPr lang="en-US" sz="1400" dirty="0">
                <a:solidFill>
                  <a:schemeClr val="bg1">
                    <a:lumMod val="50000"/>
                  </a:schemeClr>
                </a:solidFill>
                <a:latin typeface="Söhne"/>
              </a:rPr>
              <a:t>An implementation of the Baum-Welch Algorithm through R programming for practical insights and execution.</a:t>
            </a:r>
            <a:endParaRPr lang="id-ID" sz="1400" dirty="0">
              <a:solidFill>
                <a:schemeClr val="bg1">
                  <a:lumMod val="50000"/>
                </a:schemeClr>
              </a:solidFill>
              <a:latin typeface="Söhne"/>
            </a:endParaRPr>
          </a:p>
        </p:txBody>
      </p:sp>
      <p:sp>
        <p:nvSpPr>
          <p:cNvPr id="434" name="TextBox 433">
            <a:extLst>
              <a:ext uri="{FF2B5EF4-FFF2-40B4-BE49-F238E27FC236}">
                <a16:creationId xmlns:a16="http://schemas.microsoft.com/office/drawing/2014/main" id="{29E79DD9-1A5F-5F12-7B41-BAC2245989AC}"/>
              </a:ext>
            </a:extLst>
          </p:cNvPr>
          <p:cNvSpPr txBox="1"/>
          <p:nvPr/>
        </p:nvSpPr>
        <p:spPr>
          <a:xfrm>
            <a:off x="9212703" y="3576484"/>
            <a:ext cx="1956649" cy="707886"/>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Implementation Using R</a:t>
            </a:r>
          </a:p>
        </p:txBody>
      </p:sp>
      <p:cxnSp>
        <p:nvCxnSpPr>
          <p:cNvPr id="435" name="Straight Connector 434">
            <a:extLst>
              <a:ext uri="{FF2B5EF4-FFF2-40B4-BE49-F238E27FC236}">
                <a16:creationId xmlns:a16="http://schemas.microsoft.com/office/drawing/2014/main" id="{650ADF46-FF9E-3E75-E3C6-E263F4784D68}"/>
              </a:ext>
            </a:extLst>
          </p:cNvPr>
          <p:cNvCxnSpPr>
            <a:cxnSpLocks/>
          </p:cNvCxnSpPr>
          <p:nvPr/>
        </p:nvCxnSpPr>
        <p:spPr>
          <a:xfrm>
            <a:off x="10955073"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437" name="Group 436">
            <a:extLst>
              <a:ext uri="{FF2B5EF4-FFF2-40B4-BE49-F238E27FC236}">
                <a16:creationId xmlns:a16="http://schemas.microsoft.com/office/drawing/2014/main" id="{8221B2CA-6238-48C3-6AA7-032543D93DA8}"/>
              </a:ext>
            </a:extLst>
          </p:cNvPr>
          <p:cNvGrpSpPr/>
          <p:nvPr/>
        </p:nvGrpSpPr>
        <p:grpSpPr>
          <a:xfrm rot="16200000" flipV="1">
            <a:off x="11007876" y="5421466"/>
            <a:ext cx="1835717" cy="848268"/>
            <a:chOff x="233739" y="283295"/>
            <a:chExt cx="1729654" cy="848268"/>
          </a:xfrm>
          <a:gradFill>
            <a:gsLst>
              <a:gs pos="0">
                <a:schemeClr val="accent5"/>
              </a:gs>
              <a:gs pos="100000">
                <a:schemeClr val="tx1">
                  <a:alpha val="0"/>
                </a:schemeClr>
              </a:gs>
            </a:gsLst>
            <a:lin ang="0" scaled="1"/>
          </a:gradFill>
        </p:grpSpPr>
        <p:grpSp>
          <p:nvGrpSpPr>
            <p:cNvPr id="438" name="Group 437">
              <a:extLst>
                <a:ext uri="{FF2B5EF4-FFF2-40B4-BE49-F238E27FC236}">
                  <a16:creationId xmlns:a16="http://schemas.microsoft.com/office/drawing/2014/main" id="{4B9158ED-F9A0-954E-799E-66496CFB2DBA}"/>
                </a:ext>
              </a:extLst>
            </p:cNvPr>
            <p:cNvGrpSpPr/>
            <p:nvPr/>
          </p:nvGrpSpPr>
          <p:grpSpPr>
            <a:xfrm rot="5400000">
              <a:off x="1055270" y="-538236"/>
              <a:ext cx="86591" cy="1729654"/>
              <a:chOff x="85292" y="59892"/>
              <a:chExt cx="86591" cy="1729654"/>
            </a:xfrm>
            <a:grpFill/>
          </p:grpSpPr>
          <p:sp>
            <p:nvSpPr>
              <p:cNvPr id="472" name="Oval 471">
                <a:extLst>
                  <a:ext uri="{FF2B5EF4-FFF2-40B4-BE49-F238E27FC236}">
                    <a16:creationId xmlns:a16="http://schemas.microsoft.com/office/drawing/2014/main" id="{58C66E42-3FC4-C64E-E678-68AE698C240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E127F235-0D34-66E0-0D85-CD4DB1DF08B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9924C309-93DE-59D2-AE44-C1CD76791DE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3C2F0162-A3E4-AB8D-A68F-E90A6941342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Oval 475">
                <a:extLst>
                  <a:ext uri="{FF2B5EF4-FFF2-40B4-BE49-F238E27FC236}">
                    <a16:creationId xmlns:a16="http://schemas.microsoft.com/office/drawing/2014/main" id="{D4F6537E-7A92-ECB9-F0F8-457A71AE0A5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ADA6C4D6-BFF7-3D43-2D6F-565CDE117A6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F59D8B49-8484-6914-0CD9-D7808C84B85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0F24E350-E836-7D3B-F911-927EEDAE786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DCB1306B-E69C-6C26-AFEA-6E02038F136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B457F993-67BD-CB53-1EF0-058E3C1DD1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9" name="Group 438">
              <a:extLst>
                <a:ext uri="{FF2B5EF4-FFF2-40B4-BE49-F238E27FC236}">
                  <a16:creationId xmlns:a16="http://schemas.microsoft.com/office/drawing/2014/main" id="{35EBBE52-0A75-DB76-9DFD-7E5661E36D54}"/>
                </a:ext>
              </a:extLst>
            </p:cNvPr>
            <p:cNvGrpSpPr/>
            <p:nvPr/>
          </p:nvGrpSpPr>
          <p:grpSpPr>
            <a:xfrm rot="5400000">
              <a:off x="1055270" y="-284344"/>
              <a:ext cx="86591" cy="1729654"/>
              <a:chOff x="85292" y="59892"/>
              <a:chExt cx="86591" cy="1729654"/>
            </a:xfrm>
            <a:grpFill/>
          </p:grpSpPr>
          <p:sp>
            <p:nvSpPr>
              <p:cNvPr id="462" name="Oval 461">
                <a:extLst>
                  <a:ext uri="{FF2B5EF4-FFF2-40B4-BE49-F238E27FC236}">
                    <a16:creationId xmlns:a16="http://schemas.microsoft.com/office/drawing/2014/main" id="{C39A19A8-78B1-810B-6149-2AB16A56441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642419AF-D511-6C75-1CE0-AA5E077C56B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A1986139-E048-7F65-1C78-4DE05E1883E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5555FEDC-56CC-A531-8ADA-337854E6E8F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6" name="Oval 465">
                <a:extLst>
                  <a:ext uri="{FF2B5EF4-FFF2-40B4-BE49-F238E27FC236}">
                    <a16:creationId xmlns:a16="http://schemas.microsoft.com/office/drawing/2014/main" id="{1FD6D065-CE9D-CF75-8C2D-112F9AB56DE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39279D69-7D97-13C8-4516-999BC2AA43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EED79611-B90E-89C9-D9EB-D6E557A6402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9F3605B8-DC37-1636-36BE-6A3F349A42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B591E1F1-3D9B-866C-D70D-E24AE00A7DB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1743A583-7B12-5681-424E-9993437AF9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0" name="Group 439">
              <a:extLst>
                <a:ext uri="{FF2B5EF4-FFF2-40B4-BE49-F238E27FC236}">
                  <a16:creationId xmlns:a16="http://schemas.microsoft.com/office/drawing/2014/main" id="{A535F9B9-46E5-C5BE-DD7A-60405EF2BCD9}"/>
                </a:ext>
              </a:extLst>
            </p:cNvPr>
            <p:cNvGrpSpPr/>
            <p:nvPr/>
          </p:nvGrpSpPr>
          <p:grpSpPr>
            <a:xfrm rot="5400000">
              <a:off x="1055270" y="-30452"/>
              <a:ext cx="86591" cy="1729654"/>
              <a:chOff x="85292" y="59892"/>
              <a:chExt cx="86591" cy="1729654"/>
            </a:xfrm>
            <a:grpFill/>
          </p:grpSpPr>
          <p:sp>
            <p:nvSpPr>
              <p:cNvPr id="452" name="Oval 451">
                <a:extLst>
                  <a:ext uri="{FF2B5EF4-FFF2-40B4-BE49-F238E27FC236}">
                    <a16:creationId xmlns:a16="http://schemas.microsoft.com/office/drawing/2014/main" id="{C915D096-D29D-3769-C06A-710E6FD4037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3" name="Oval 452">
                <a:extLst>
                  <a:ext uri="{FF2B5EF4-FFF2-40B4-BE49-F238E27FC236}">
                    <a16:creationId xmlns:a16="http://schemas.microsoft.com/office/drawing/2014/main" id="{B25E8C63-06CF-38E1-9EC5-7DE11B45F79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Oval 453">
                <a:extLst>
                  <a:ext uri="{FF2B5EF4-FFF2-40B4-BE49-F238E27FC236}">
                    <a16:creationId xmlns:a16="http://schemas.microsoft.com/office/drawing/2014/main" id="{CD3EC5C6-089F-C08F-ED21-2505C03CBF8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5" name="Oval 454">
                <a:extLst>
                  <a:ext uri="{FF2B5EF4-FFF2-40B4-BE49-F238E27FC236}">
                    <a16:creationId xmlns:a16="http://schemas.microsoft.com/office/drawing/2014/main" id="{E73F8E65-EF31-FC55-585C-1BC49D9DD50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Oval 455">
                <a:extLst>
                  <a:ext uri="{FF2B5EF4-FFF2-40B4-BE49-F238E27FC236}">
                    <a16:creationId xmlns:a16="http://schemas.microsoft.com/office/drawing/2014/main" id="{8F900EAD-C1B8-7DED-FCF2-1909E610E8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59D1FFF8-9E88-D134-FD52-C736E90DA1C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8417335F-CB18-1E62-0D15-29AD567942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D3D95908-5B92-0554-A505-F75D80703E6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ACFC0191-7991-9031-F1AA-F31ACEFDA51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F27C1F36-9A53-AAA9-BF9A-E058C47236B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1" name="Group 440">
              <a:extLst>
                <a:ext uri="{FF2B5EF4-FFF2-40B4-BE49-F238E27FC236}">
                  <a16:creationId xmlns:a16="http://schemas.microsoft.com/office/drawing/2014/main" id="{48BAFF7A-8F61-5772-2776-7F2041B0F4A2}"/>
                </a:ext>
              </a:extLst>
            </p:cNvPr>
            <p:cNvGrpSpPr/>
            <p:nvPr/>
          </p:nvGrpSpPr>
          <p:grpSpPr>
            <a:xfrm rot="5400000">
              <a:off x="1055270" y="223441"/>
              <a:ext cx="86591" cy="1729654"/>
              <a:chOff x="85292" y="59892"/>
              <a:chExt cx="86591" cy="1729654"/>
            </a:xfrm>
            <a:grpFill/>
          </p:grpSpPr>
          <p:sp>
            <p:nvSpPr>
              <p:cNvPr id="442" name="Oval 441">
                <a:extLst>
                  <a:ext uri="{FF2B5EF4-FFF2-40B4-BE49-F238E27FC236}">
                    <a16:creationId xmlns:a16="http://schemas.microsoft.com/office/drawing/2014/main" id="{1E959D90-B963-B9E0-780D-0EB72C1F53C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3" name="Oval 442">
                <a:extLst>
                  <a:ext uri="{FF2B5EF4-FFF2-40B4-BE49-F238E27FC236}">
                    <a16:creationId xmlns:a16="http://schemas.microsoft.com/office/drawing/2014/main" id="{C174A58D-F368-110C-E201-BF1D7B21A17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Oval 443">
                <a:extLst>
                  <a:ext uri="{FF2B5EF4-FFF2-40B4-BE49-F238E27FC236}">
                    <a16:creationId xmlns:a16="http://schemas.microsoft.com/office/drawing/2014/main" id="{71F16B4F-ABDD-5565-8DEB-26B985F403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5" name="Oval 444">
                <a:extLst>
                  <a:ext uri="{FF2B5EF4-FFF2-40B4-BE49-F238E27FC236}">
                    <a16:creationId xmlns:a16="http://schemas.microsoft.com/office/drawing/2014/main" id="{F2F62CA5-8C69-8773-7D7B-F90B9FEF541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6" name="Oval 445">
                <a:extLst>
                  <a:ext uri="{FF2B5EF4-FFF2-40B4-BE49-F238E27FC236}">
                    <a16:creationId xmlns:a16="http://schemas.microsoft.com/office/drawing/2014/main" id="{D9D5855C-01CD-CA44-2288-0366A0B54F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Oval 446">
                <a:extLst>
                  <a:ext uri="{FF2B5EF4-FFF2-40B4-BE49-F238E27FC236}">
                    <a16:creationId xmlns:a16="http://schemas.microsoft.com/office/drawing/2014/main" id="{48807167-B190-88D2-2FF7-E44076F2DAF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8" name="Oval 447">
                <a:extLst>
                  <a:ext uri="{FF2B5EF4-FFF2-40B4-BE49-F238E27FC236}">
                    <a16:creationId xmlns:a16="http://schemas.microsoft.com/office/drawing/2014/main" id="{8E57ED50-DEEB-4CE2-E70D-79374207AB9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9" name="Oval 448">
                <a:extLst>
                  <a:ext uri="{FF2B5EF4-FFF2-40B4-BE49-F238E27FC236}">
                    <a16:creationId xmlns:a16="http://schemas.microsoft.com/office/drawing/2014/main" id="{895ACA16-F289-88D9-65F7-18212F73E89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Oval 449">
                <a:extLst>
                  <a:ext uri="{FF2B5EF4-FFF2-40B4-BE49-F238E27FC236}">
                    <a16:creationId xmlns:a16="http://schemas.microsoft.com/office/drawing/2014/main" id="{052AAFD7-0528-EA97-9D3E-944F14E0848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1" name="Oval 450">
                <a:extLst>
                  <a:ext uri="{FF2B5EF4-FFF2-40B4-BE49-F238E27FC236}">
                    <a16:creationId xmlns:a16="http://schemas.microsoft.com/office/drawing/2014/main" id="{5950940D-8CF3-DCE9-A37E-7F9379E5C01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5150302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 name="Picture 613" descr="A group of people standing around a table&#10;&#10;Description automatically generated">
            <a:extLst>
              <a:ext uri="{FF2B5EF4-FFF2-40B4-BE49-F238E27FC236}">
                <a16:creationId xmlns:a16="http://schemas.microsoft.com/office/drawing/2014/main" id="{E2F8CD4C-30C4-5C89-E4D9-33B900B58B1C}"/>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7336" y="-18079"/>
            <a:ext cx="12186168" cy="6876078"/>
          </a:xfrm>
          <a:custGeom>
            <a:avLst/>
            <a:gdLst>
              <a:gd name="connsiteX0" fmla="*/ 0 w 5456903"/>
              <a:gd name="connsiteY0" fmla="*/ 0 h 5456901"/>
              <a:gd name="connsiteX1" fmla="*/ 5456903 w 5456903"/>
              <a:gd name="connsiteY1" fmla="*/ 0 h 5456901"/>
              <a:gd name="connsiteX2" fmla="*/ 5456903 w 5456903"/>
              <a:gd name="connsiteY2" fmla="*/ 5456901 h 5456901"/>
              <a:gd name="connsiteX3" fmla="*/ 0 w 5456903"/>
              <a:gd name="connsiteY3" fmla="*/ 5456901 h 5456901"/>
            </a:gdLst>
            <a:ahLst/>
            <a:cxnLst>
              <a:cxn ang="0">
                <a:pos x="connsiteX0" y="connsiteY0"/>
              </a:cxn>
              <a:cxn ang="0">
                <a:pos x="connsiteX1" y="connsiteY1"/>
              </a:cxn>
              <a:cxn ang="0">
                <a:pos x="connsiteX2" y="connsiteY2"/>
              </a:cxn>
              <a:cxn ang="0">
                <a:pos x="connsiteX3" y="connsiteY3"/>
              </a:cxn>
            </a:cxnLst>
            <a:rect l="l" t="t" r="r" b="b"/>
            <a:pathLst>
              <a:path w="5456903" h="5456901">
                <a:moveTo>
                  <a:pt x="0" y="0"/>
                </a:moveTo>
                <a:lnTo>
                  <a:pt x="5456903" y="0"/>
                </a:lnTo>
                <a:lnTo>
                  <a:pt x="5456903" y="5456901"/>
                </a:lnTo>
                <a:lnTo>
                  <a:pt x="0" y="5456901"/>
                </a:lnTo>
                <a:close/>
              </a:path>
            </a:pathLst>
          </a:custGeom>
        </p:spPr>
      </p:pic>
      <p:graphicFrame>
        <p:nvGraphicFramePr>
          <p:cNvPr id="11" name="Object 10" hidden="1">
            <a:extLst>
              <a:ext uri="{FF2B5EF4-FFF2-40B4-BE49-F238E27FC236}">
                <a16:creationId xmlns:a16="http://schemas.microsoft.com/office/drawing/2014/main" id="{DEF434A6-E670-D54E-B330-0A9E550FC957}"/>
              </a:ext>
            </a:extLst>
          </p:cNvPr>
          <p:cNvGraphicFramePr>
            <a:graphicFrameLocks noChangeAspect="1"/>
          </p:cNvGraphicFramePr>
          <p:nvPr>
            <p:custDataLst>
              <p:tags r:id="rId1"/>
            </p:custDataLst>
            <p:extLst>
              <p:ext uri="{D42A27DB-BD31-4B8C-83A1-F6EECF244321}">
                <p14:modId xmlns:p14="http://schemas.microsoft.com/office/powerpoint/2010/main" val="40693074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1" name="Object 10" hidden="1">
                        <a:extLst>
                          <a:ext uri="{FF2B5EF4-FFF2-40B4-BE49-F238E27FC236}">
                            <a16:creationId xmlns:a16="http://schemas.microsoft.com/office/drawing/2014/main" id="{DEF434A6-E670-D54E-B330-0A9E550FC9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95CC2DF7-249F-5E21-0823-930679396349}"/>
              </a:ext>
            </a:extLst>
          </p:cNvPr>
          <p:cNvSpPr/>
          <p:nvPr/>
        </p:nvSpPr>
        <p:spPr>
          <a:xfrm>
            <a:off x="3048" y="0"/>
            <a:ext cx="12188952" cy="685800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25">
            <a:extLst>
              <a:ext uri="{FF2B5EF4-FFF2-40B4-BE49-F238E27FC236}">
                <a16:creationId xmlns:a16="http://schemas.microsoft.com/office/drawing/2014/main" id="{77A327DB-471F-422B-33C3-9164BBD2021B}"/>
              </a:ext>
            </a:extLst>
          </p:cNvPr>
          <p:cNvSpPr/>
          <p:nvPr/>
        </p:nvSpPr>
        <p:spPr>
          <a:xfrm flipH="1">
            <a:off x="9594164" y="4149969"/>
            <a:ext cx="2597835" cy="2708032"/>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89" name="Group 388">
            <a:extLst>
              <a:ext uri="{FF2B5EF4-FFF2-40B4-BE49-F238E27FC236}">
                <a16:creationId xmlns:a16="http://schemas.microsoft.com/office/drawing/2014/main" id="{4E7770AF-680C-52DC-B02B-CF76BC76A6E9}"/>
              </a:ext>
            </a:extLst>
          </p:cNvPr>
          <p:cNvGrpSpPr/>
          <p:nvPr/>
        </p:nvGrpSpPr>
        <p:grpSpPr>
          <a:xfrm rot="10800000" flipV="1">
            <a:off x="10371981" y="93152"/>
            <a:ext cx="1729654" cy="848268"/>
            <a:chOff x="233739" y="283295"/>
            <a:chExt cx="1729654" cy="848268"/>
          </a:xfrm>
          <a:gradFill>
            <a:gsLst>
              <a:gs pos="0">
                <a:schemeClr val="accent5"/>
              </a:gs>
              <a:gs pos="100000">
                <a:schemeClr val="tx1">
                  <a:alpha val="0"/>
                </a:schemeClr>
              </a:gs>
            </a:gsLst>
            <a:lin ang="0" scaled="1"/>
          </a:gradFill>
        </p:grpSpPr>
        <p:grpSp>
          <p:nvGrpSpPr>
            <p:cNvPr id="390" name="Group 389">
              <a:extLst>
                <a:ext uri="{FF2B5EF4-FFF2-40B4-BE49-F238E27FC236}">
                  <a16:creationId xmlns:a16="http://schemas.microsoft.com/office/drawing/2014/main" id="{9241FA8F-D9E4-1A23-E71D-7343059C42D7}"/>
                </a:ext>
              </a:extLst>
            </p:cNvPr>
            <p:cNvGrpSpPr/>
            <p:nvPr/>
          </p:nvGrpSpPr>
          <p:grpSpPr>
            <a:xfrm rot="5400000">
              <a:off x="1055270" y="-538236"/>
              <a:ext cx="86591" cy="1729654"/>
              <a:chOff x="85292" y="59892"/>
              <a:chExt cx="86591" cy="1729654"/>
            </a:xfrm>
            <a:grpFill/>
          </p:grpSpPr>
          <p:sp>
            <p:nvSpPr>
              <p:cNvPr id="424" name="Oval 423">
                <a:extLst>
                  <a:ext uri="{FF2B5EF4-FFF2-40B4-BE49-F238E27FC236}">
                    <a16:creationId xmlns:a16="http://schemas.microsoft.com/office/drawing/2014/main" id="{30C17EE9-B515-0917-EBAB-4E44266EDA7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5" name="Oval 424">
                <a:extLst>
                  <a:ext uri="{FF2B5EF4-FFF2-40B4-BE49-F238E27FC236}">
                    <a16:creationId xmlns:a16="http://schemas.microsoft.com/office/drawing/2014/main" id="{70DE1959-BC42-9CE7-B280-20279B44E5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6" name="Oval 425">
                <a:extLst>
                  <a:ext uri="{FF2B5EF4-FFF2-40B4-BE49-F238E27FC236}">
                    <a16:creationId xmlns:a16="http://schemas.microsoft.com/office/drawing/2014/main" id="{5D2DD409-CFBD-A375-E6B5-C7F38E89E54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7" name="Oval 426">
                <a:extLst>
                  <a:ext uri="{FF2B5EF4-FFF2-40B4-BE49-F238E27FC236}">
                    <a16:creationId xmlns:a16="http://schemas.microsoft.com/office/drawing/2014/main" id="{554E5BA0-7F08-A281-B1B9-8274929D97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8" name="Oval 427">
                <a:extLst>
                  <a:ext uri="{FF2B5EF4-FFF2-40B4-BE49-F238E27FC236}">
                    <a16:creationId xmlns:a16="http://schemas.microsoft.com/office/drawing/2014/main" id="{6C482166-BC74-B8F1-CA49-66C63C3EC68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9" name="Oval 428">
                <a:extLst>
                  <a:ext uri="{FF2B5EF4-FFF2-40B4-BE49-F238E27FC236}">
                    <a16:creationId xmlns:a16="http://schemas.microsoft.com/office/drawing/2014/main" id="{59315EC7-225D-4F10-7E4D-ADD6F4A0A9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0" name="Oval 429">
                <a:extLst>
                  <a:ext uri="{FF2B5EF4-FFF2-40B4-BE49-F238E27FC236}">
                    <a16:creationId xmlns:a16="http://schemas.microsoft.com/office/drawing/2014/main" id="{B4E2BF7B-D84E-0E92-22BB-E60AFFAD17F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1" name="Oval 430">
                <a:extLst>
                  <a:ext uri="{FF2B5EF4-FFF2-40B4-BE49-F238E27FC236}">
                    <a16:creationId xmlns:a16="http://schemas.microsoft.com/office/drawing/2014/main" id="{E0449F37-1E9C-509D-AB0B-04BCF8FD2F9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2" name="Oval 431">
                <a:extLst>
                  <a:ext uri="{FF2B5EF4-FFF2-40B4-BE49-F238E27FC236}">
                    <a16:creationId xmlns:a16="http://schemas.microsoft.com/office/drawing/2014/main" id="{22243E98-5E5F-0B7D-BD8C-C690803AB4C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3" name="Oval 432">
                <a:extLst>
                  <a:ext uri="{FF2B5EF4-FFF2-40B4-BE49-F238E27FC236}">
                    <a16:creationId xmlns:a16="http://schemas.microsoft.com/office/drawing/2014/main" id="{446415D9-2A34-829D-9D20-5939F8EDAF5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1" name="Group 390">
              <a:extLst>
                <a:ext uri="{FF2B5EF4-FFF2-40B4-BE49-F238E27FC236}">
                  <a16:creationId xmlns:a16="http://schemas.microsoft.com/office/drawing/2014/main" id="{E5DD91AB-CEDE-7D0D-D18F-24C852831914}"/>
                </a:ext>
              </a:extLst>
            </p:cNvPr>
            <p:cNvGrpSpPr/>
            <p:nvPr/>
          </p:nvGrpSpPr>
          <p:grpSpPr>
            <a:xfrm rot="5400000">
              <a:off x="1055270" y="-284344"/>
              <a:ext cx="86591" cy="1729654"/>
              <a:chOff x="85292" y="59892"/>
              <a:chExt cx="86591" cy="1729654"/>
            </a:xfrm>
            <a:grpFill/>
          </p:grpSpPr>
          <p:sp>
            <p:nvSpPr>
              <p:cNvPr id="414" name="Oval 413">
                <a:extLst>
                  <a:ext uri="{FF2B5EF4-FFF2-40B4-BE49-F238E27FC236}">
                    <a16:creationId xmlns:a16="http://schemas.microsoft.com/office/drawing/2014/main" id="{56A6DD29-025C-76DB-724D-C85C422AE71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5" name="Oval 414">
                <a:extLst>
                  <a:ext uri="{FF2B5EF4-FFF2-40B4-BE49-F238E27FC236}">
                    <a16:creationId xmlns:a16="http://schemas.microsoft.com/office/drawing/2014/main" id="{0232537F-A840-286A-6763-4C4728892E7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DDC7AF09-9788-D98C-AFEB-DB112C7E4DD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7" name="Oval 416">
                <a:extLst>
                  <a:ext uri="{FF2B5EF4-FFF2-40B4-BE49-F238E27FC236}">
                    <a16:creationId xmlns:a16="http://schemas.microsoft.com/office/drawing/2014/main" id="{A0C3AA49-AD5B-6688-ACEB-542CC3C29A9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8" name="Oval 417">
                <a:extLst>
                  <a:ext uri="{FF2B5EF4-FFF2-40B4-BE49-F238E27FC236}">
                    <a16:creationId xmlns:a16="http://schemas.microsoft.com/office/drawing/2014/main" id="{0215B89D-3050-939B-8742-7252BA58A4A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9" name="Oval 418">
                <a:extLst>
                  <a:ext uri="{FF2B5EF4-FFF2-40B4-BE49-F238E27FC236}">
                    <a16:creationId xmlns:a16="http://schemas.microsoft.com/office/drawing/2014/main" id="{6E3ABDAA-6D2D-AE4D-5EFF-F8D7F2264A7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0" name="Oval 419">
                <a:extLst>
                  <a:ext uri="{FF2B5EF4-FFF2-40B4-BE49-F238E27FC236}">
                    <a16:creationId xmlns:a16="http://schemas.microsoft.com/office/drawing/2014/main" id="{A1CBC8A5-7158-DC56-B1FD-4DD772F3519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1" name="Oval 420">
                <a:extLst>
                  <a:ext uri="{FF2B5EF4-FFF2-40B4-BE49-F238E27FC236}">
                    <a16:creationId xmlns:a16="http://schemas.microsoft.com/office/drawing/2014/main" id="{40555C6F-4EED-46CA-C6C9-C9E3170E793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FD0A0819-FD9B-3911-DC54-7D45146D728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83E4EA9A-09AB-268E-9650-B72FBB2856D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2" name="Group 391">
              <a:extLst>
                <a:ext uri="{FF2B5EF4-FFF2-40B4-BE49-F238E27FC236}">
                  <a16:creationId xmlns:a16="http://schemas.microsoft.com/office/drawing/2014/main" id="{6900A1DC-6B83-CA12-C642-5E77EAD2E192}"/>
                </a:ext>
              </a:extLst>
            </p:cNvPr>
            <p:cNvGrpSpPr/>
            <p:nvPr/>
          </p:nvGrpSpPr>
          <p:grpSpPr>
            <a:xfrm rot="5400000">
              <a:off x="1055270" y="-30452"/>
              <a:ext cx="86591" cy="1729654"/>
              <a:chOff x="85292" y="59892"/>
              <a:chExt cx="86591" cy="1729654"/>
            </a:xfrm>
            <a:grpFill/>
          </p:grpSpPr>
          <p:sp>
            <p:nvSpPr>
              <p:cNvPr id="404" name="Oval 403">
                <a:extLst>
                  <a:ext uri="{FF2B5EF4-FFF2-40B4-BE49-F238E27FC236}">
                    <a16:creationId xmlns:a16="http://schemas.microsoft.com/office/drawing/2014/main" id="{76D2C62D-158A-6437-8296-FA574384178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5" name="Oval 404">
                <a:extLst>
                  <a:ext uri="{FF2B5EF4-FFF2-40B4-BE49-F238E27FC236}">
                    <a16:creationId xmlns:a16="http://schemas.microsoft.com/office/drawing/2014/main" id="{DC300233-3AC5-7BA0-E156-CDE8AAD8533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6" name="Oval 405">
                <a:extLst>
                  <a:ext uri="{FF2B5EF4-FFF2-40B4-BE49-F238E27FC236}">
                    <a16:creationId xmlns:a16="http://schemas.microsoft.com/office/drawing/2014/main" id="{6216C04E-60B2-BC4E-781A-AA53B682870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Oval 406">
                <a:extLst>
                  <a:ext uri="{FF2B5EF4-FFF2-40B4-BE49-F238E27FC236}">
                    <a16:creationId xmlns:a16="http://schemas.microsoft.com/office/drawing/2014/main" id="{8DF9BFCD-D01E-C7EF-21C2-6EDB20018FF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8" name="Oval 407">
                <a:extLst>
                  <a:ext uri="{FF2B5EF4-FFF2-40B4-BE49-F238E27FC236}">
                    <a16:creationId xmlns:a16="http://schemas.microsoft.com/office/drawing/2014/main" id="{60F80751-E902-1F3C-ACE6-5CACD2D5C9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9" name="Oval 408">
                <a:extLst>
                  <a:ext uri="{FF2B5EF4-FFF2-40B4-BE49-F238E27FC236}">
                    <a16:creationId xmlns:a16="http://schemas.microsoft.com/office/drawing/2014/main" id="{EFD8F1C2-097E-0922-F07D-22AC47217C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0" name="Oval 409">
                <a:extLst>
                  <a:ext uri="{FF2B5EF4-FFF2-40B4-BE49-F238E27FC236}">
                    <a16:creationId xmlns:a16="http://schemas.microsoft.com/office/drawing/2014/main" id="{DAA42C3A-5336-5402-FDE5-08BB596CFE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1" name="Oval 410">
                <a:extLst>
                  <a:ext uri="{FF2B5EF4-FFF2-40B4-BE49-F238E27FC236}">
                    <a16:creationId xmlns:a16="http://schemas.microsoft.com/office/drawing/2014/main" id="{54653E17-379A-5209-3B25-28473C7829C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2" name="Oval 411">
                <a:extLst>
                  <a:ext uri="{FF2B5EF4-FFF2-40B4-BE49-F238E27FC236}">
                    <a16:creationId xmlns:a16="http://schemas.microsoft.com/office/drawing/2014/main" id="{DDF2DBCF-D291-4204-795A-5D533DD305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3" name="Oval 412">
                <a:extLst>
                  <a:ext uri="{FF2B5EF4-FFF2-40B4-BE49-F238E27FC236}">
                    <a16:creationId xmlns:a16="http://schemas.microsoft.com/office/drawing/2014/main" id="{96EE11F9-5BCA-E3E4-9C38-C5ACC29BF6A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3" name="Group 392">
              <a:extLst>
                <a:ext uri="{FF2B5EF4-FFF2-40B4-BE49-F238E27FC236}">
                  <a16:creationId xmlns:a16="http://schemas.microsoft.com/office/drawing/2014/main" id="{A3EBB740-FEE5-5843-82B1-00DE0BC93B1A}"/>
                </a:ext>
              </a:extLst>
            </p:cNvPr>
            <p:cNvGrpSpPr/>
            <p:nvPr/>
          </p:nvGrpSpPr>
          <p:grpSpPr>
            <a:xfrm rot="5400000">
              <a:off x="1055270" y="223441"/>
              <a:ext cx="86591" cy="1729654"/>
              <a:chOff x="85292" y="59892"/>
              <a:chExt cx="86591" cy="1729654"/>
            </a:xfrm>
            <a:grpFill/>
          </p:grpSpPr>
          <p:sp>
            <p:nvSpPr>
              <p:cNvPr id="394" name="Oval 393">
                <a:extLst>
                  <a:ext uri="{FF2B5EF4-FFF2-40B4-BE49-F238E27FC236}">
                    <a16:creationId xmlns:a16="http://schemas.microsoft.com/office/drawing/2014/main" id="{DF2BB729-CBC3-C23A-152F-827F4E7DB1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5" name="Oval 394">
                <a:extLst>
                  <a:ext uri="{FF2B5EF4-FFF2-40B4-BE49-F238E27FC236}">
                    <a16:creationId xmlns:a16="http://schemas.microsoft.com/office/drawing/2014/main" id="{57E0079C-8292-59E2-F58F-D2DF0F4586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6" name="Oval 395">
                <a:extLst>
                  <a:ext uri="{FF2B5EF4-FFF2-40B4-BE49-F238E27FC236}">
                    <a16:creationId xmlns:a16="http://schemas.microsoft.com/office/drawing/2014/main" id="{C48D5AA7-A1B3-DDC9-0680-24899D18BEB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7" name="Oval 396">
                <a:extLst>
                  <a:ext uri="{FF2B5EF4-FFF2-40B4-BE49-F238E27FC236}">
                    <a16:creationId xmlns:a16="http://schemas.microsoft.com/office/drawing/2014/main" id="{271BDE4D-36C5-9FB6-2383-5E061D773F9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8" name="Oval 397">
                <a:extLst>
                  <a:ext uri="{FF2B5EF4-FFF2-40B4-BE49-F238E27FC236}">
                    <a16:creationId xmlns:a16="http://schemas.microsoft.com/office/drawing/2014/main" id="{30D3F4B7-DC6F-31F9-7DC0-48A687DE88F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9" name="Oval 398">
                <a:extLst>
                  <a:ext uri="{FF2B5EF4-FFF2-40B4-BE49-F238E27FC236}">
                    <a16:creationId xmlns:a16="http://schemas.microsoft.com/office/drawing/2014/main" id="{9AF4E967-3653-0389-0058-29E10D49E5D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0" name="Oval 399">
                <a:extLst>
                  <a:ext uri="{FF2B5EF4-FFF2-40B4-BE49-F238E27FC236}">
                    <a16:creationId xmlns:a16="http://schemas.microsoft.com/office/drawing/2014/main" id="{6ED9BD08-0139-3B86-103C-FE1A17DC4F2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1" name="Oval 400">
                <a:extLst>
                  <a:ext uri="{FF2B5EF4-FFF2-40B4-BE49-F238E27FC236}">
                    <a16:creationId xmlns:a16="http://schemas.microsoft.com/office/drawing/2014/main" id="{BF628B70-8F54-28EC-1508-9D6D8EDDCF1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2" name="Oval 401">
                <a:extLst>
                  <a:ext uri="{FF2B5EF4-FFF2-40B4-BE49-F238E27FC236}">
                    <a16:creationId xmlns:a16="http://schemas.microsoft.com/office/drawing/2014/main" id="{3ED96DF2-C163-E6D3-4E12-D4E0FA4713B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3" name="Oval 402">
                <a:extLst>
                  <a:ext uri="{FF2B5EF4-FFF2-40B4-BE49-F238E27FC236}">
                    <a16:creationId xmlns:a16="http://schemas.microsoft.com/office/drawing/2014/main" id="{FACA616B-8E54-790B-777F-0885729210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3" name="Group 292">
            <a:extLst>
              <a:ext uri="{FF2B5EF4-FFF2-40B4-BE49-F238E27FC236}">
                <a16:creationId xmlns:a16="http://schemas.microsoft.com/office/drawing/2014/main" id="{03489D7F-3A8F-3FDD-B36B-C3AF9203EBE2}"/>
              </a:ext>
            </a:extLst>
          </p:cNvPr>
          <p:cNvGrpSpPr/>
          <p:nvPr/>
        </p:nvGrpSpPr>
        <p:grpSpPr>
          <a:xfrm rot="10800000" flipV="1">
            <a:off x="7799790" y="5931903"/>
            <a:ext cx="1729654" cy="848268"/>
            <a:chOff x="233739" y="283295"/>
            <a:chExt cx="1729654" cy="848268"/>
          </a:xfrm>
          <a:gradFill>
            <a:gsLst>
              <a:gs pos="0">
                <a:schemeClr val="accent5"/>
              </a:gs>
              <a:gs pos="100000">
                <a:schemeClr val="tx1">
                  <a:alpha val="0"/>
                </a:schemeClr>
              </a:gs>
            </a:gsLst>
            <a:lin ang="0" scaled="1"/>
          </a:gradFill>
        </p:grpSpPr>
        <p:grpSp>
          <p:nvGrpSpPr>
            <p:cNvPr id="294" name="Group 293">
              <a:extLst>
                <a:ext uri="{FF2B5EF4-FFF2-40B4-BE49-F238E27FC236}">
                  <a16:creationId xmlns:a16="http://schemas.microsoft.com/office/drawing/2014/main" id="{7B45A208-F53A-8A8B-7907-09E2E9FD308B}"/>
                </a:ext>
              </a:extLst>
            </p:cNvPr>
            <p:cNvGrpSpPr/>
            <p:nvPr/>
          </p:nvGrpSpPr>
          <p:grpSpPr>
            <a:xfrm rot="5400000">
              <a:off x="1055270" y="-538236"/>
              <a:ext cx="86591" cy="1729654"/>
              <a:chOff x="85292" y="59892"/>
              <a:chExt cx="86591" cy="1729654"/>
            </a:xfrm>
            <a:grpFill/>
          </p:grpSpPr>
          <p:sp>
            <p:nvSpPr>
              <p:cNvPr id="328" name="Oval 327">
                <a:extLst>
                  <a:ext uri="{FF2B5EF4-FFF2-40B4-BE49-F238E27FC236}">
                    <a16:creationId xmlns:a16="http://schemas.microsoft.com/office/drawing/2014/main" id="{77DB8DF7-970F-925E-A8FD-BFCC4E94020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BA9007CD-D0F6-1C0A-A47A-3CC24DEBDED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31FFC87C-25B8-C621-1E6E-8457930D09A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Oval 330">
                <a:extLst>
                  <a:ext uri="{FF2B5EF4-FFF2-40B4-BE49-F238E27FC236}">
                    <a16:creationId xmlns:a16="http://schemas.microsoft.com/office/drawing/2014/main" id="{F81B24C4-B492-EF9A-32F9-E1B9374FB07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2" name="Oval 331">
                <a:extLst>
                  <a:ext uri="{FF2B5EF4-FFF2-40B4-BE49-F238E27FC236}">
                    <a16:creationId xmlns:a16="http://schemas.microsoft.com/office/drawing/2014/main" id="{8CAC1B5C-9D73-5E80-D59F-9A037CF89E9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Oval 332">
                <a:extLst>
                  <a:ext uri="{FF2B5EF4-FFF2-40B4-BE49-F238E27FC236}">
                    <a16:creationId xmlns:a16="http://schemas.microsoft.com/office/drawing/2014/main" id="{F7C5FD38-3343-9EF1-5EAE-6BAEFF62512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Oval 333">
                <a:extLst>
                  <a:ext uri="{FF2B5EF4-FFF2-40B4-BE49-F238E27FC236}">
                    <a16:creationId xmlns:a16="http://schemas.microsoft.com/office/drawing/2014/main" id="{464331CB-AEC7-9A59-0296-B0CAF7985CE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Oval 334">
                <a:extLst>
                  <a:ext uri="{FF2B5EF4-FFF2-40B4-BE49-F238E27FC236}">
                    <a16:creationId xmlns:a16="http://schemas.microsoft.com/office/drawing/2014/main" id="{B8BC6535-AD9E-7BD3-A8A3-CE8985D0C1F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Oval 335">
                <a:extLst>
                  <a:ext uri="{FF2B5EF4-FFF2-40B4-BE49-F238E27FC236}">
                    <a16:creationId xmlns:a16="http://schemas.microsoft.com/office/drawing/2014/main" id="{CFEC3F07-DA56-20F1-0E24-8C67933B6B3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id="{64161912-931D-2944-8A10-0198A34C21D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5" name="Group 294">
              <a:extLst>
                <a:ext uri="{FF2B5EF4-FFF2-40B4-BE49-F238E27FC236}">
                  <a16:creationId xmlns:a16="http://schemas.microsoft.com/office/drawing/2014/main" id="{2D6DBDA8-004E-FC52-5C46-34055C3F0E2C}"/>
                </a:ext>
              </a:extLst>
            </p:cNvPr>
            <p:cNvGrpSpPr/>
            <p:nvPr/>
          </p:nvGrpSpPr>
          <p:grpSpPr>
            <a:xfrm rot="5400000">
              <a:off x="1055270" y="-284344"/>
              <a:ext cx="86591" cy="1729654"/>
              <a:chOff x="85292" y="59892"/>
              <a:chExt cx="86591" cy="1729654"/>
            </a:xfrm>
            <a:grpFill/>
          </p:grpSpPr>
          <p:sp>
            <p:nvSpPr>
              <p:cNvPr id="318" name="Oval 317">
                <a:extLst>
                  <a:ext uri="{FF2B5EF4-FFF2-40B4-BE49-F238E27FC236}">
                    <a16:creationId xmlns:a16="http://schemas.microsoft.com/office/drawing/2014/main" id="{C7CBFFD0-3625-2EB1-321D-FF4D76E0856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Oval 318">
                <a:extLst>
                  <a:ext uri="{FF2B5EF4-FFF2-40B4-BE49-F238E27FC236}">
                    <a16:creationId xmlns:a16="http://schemas.microsoft.com/office/drawing/2014/main" id="{7D8928FD-9D98-3DAB-FF79-556520C9D50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Oval 319">
                <a:extLst>
                  <a:ext uri="{FF2B5EF4-FFF2-40B4-BE49-F238E27FC236}">
                    <a16:creationId xmlns:a16="http://schemas.microsoft.com/office/drawing/2014/main" id="{B1100F16-96A0-8536-7318-85C95DE1E00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Oval 320">
                <a:extLst>
                  <a:ext uri="{FF2B5EF4-FFF2-40B4-BE49-F238E27FC236}">
                    <a16:creationId xmlns:a16="http://schemas.microsoft.com/office/drawing/2014/main" id="{86D85622-3C93-CE68-E8F1-97D44AE3DD4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2" name="Oval 321">
                <a:extLst>
                  <a:ext uri="{FF2B5EF4-FFF2-40B4-BE49-F238E27FC236}">
                    <a16:creationId xmlns:a16="http://schemas.microsoft.com/office/drawing/2014/main" id="{8904BDD3-5F3F-6748-496E-468A9D5F71F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Oval 322">
                <a:extLst>
                  <a:ext uri="{FF2B5EF4-FFF2-40B4-BE49-F238E27FC236}">
                    <a16:creationId xmlns:a16="http://schemas.microsoft.com/office/drawing/2014/main" id="{12ABEF1F-86E7-DEAC-5CB7-FCDEEEDA40E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5DC27310-3528-3D36-E95E-9AEB2FADC0E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983AE39C-EA2A-A2C3-E61D-7CF4C550A21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Oval 325">
                <a:extLst>
                  <a:ext uri="{FF2B5EF4-FFF2-40B4-BE49-F238E27FC236}">
                    <a16:creationId xmlns:a16="http://schemas.microsoft.com/office/drawing/2014/main" id="{51422528-17AE-D996-37B8-87321C65986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Oval 326">
                <a:extLst>
                  <a:ext uri="{FF2B5EF4-FFF2-40B4-BE49-F238E27FC236}">
                    <a16:creationId xmlns:a16="http://schemas.microsoft.com/office/drawing/2014/main" id="{22A14B12-0BB7-4710-3360-6D45A52CDA0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6" name="Group 295">
              <a:extLst>
                <a:ext uri="{FF2B5EF4-FFF2-40B4-BE49-F238E27FC236}">
                  <a16:creationId xmlns:a16="http://schemas.microsoft.com/office/drawing/2014/main" id="{F56D2AF2-41D9-A21D-FAEF-546B06E338A3}"/>
                </a:ext>
              </a:extLst>
            </p:cNvPr>
            <p:cNvGrpSpPr/>
            <p:nvPr/>
          </p:nvGrpSpPr>
          <p:grpSpPr>
            <a:xfrm rot="5400000">
              <a:off x="1055270" y="-30452"/>
              <a:ext cx="86591" cy="1729654"/>
              <a:chOff x="85292" y="59892"/>
              <a:chExt cx="86591" cy="1729654"/>
            </a:xfrm>
            <a:grpFill/>
          </p:grpSpPr>
          <p:sp>
            <p:nvSpPr>
              <p:cNvPr id="308" name="Oval 307">
                <a:extLst>
                  <a:ext uri="{FF2B5EF4-FFF2-40B4-BE49-F238E27FC236}">
                    <a16:creationId xmlns:a16="http://schemas.microsoft.com/office/drawing/2014/main" id="{337FB695-370E-2A39-298C-979C5684906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a:extLst>
                  <a:ext uri="{FF2B5EF4-FFF2-40B4-BE49-F238E27FC236}">
                    <a16:creationId xmlns:a16="http://schemas.microsoft.com/office/drawing/2014/main" id="{C38F4302-37CF-0C3C-BEDA-C83EF288CC6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Oval 309">
                <a:extLst>
                  <a:ext uri="{FF2B5EF4-FFF2-40B4-BE49-F238E27FC236}">
                    <a16:creationId xmlns:a16="http://schemas.microsoft.com/office/drawing/2014/main" id="{04C00BFA-7502-194D-E3DA-9C80E814156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Oval 310">
                <a:extLst>
                  <a:ext uri="{FF2B5EF4-FFF2-40B4-BE49-F238E27FC236}">
                    <a16:creationId xmlns:a16="http://schemas.microsoft.com/office/drawing/2014/main" id="{867A613E-845B-28FB-AEFA-37040D53BD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2" name="Oval 311">
                <a:extLst>
                  <a:ext uri="{FF2B5EF4-FFF2-40B4-BE49-F238E27FC236}">
                    <a16:creationId xmlns:a16="http://schemas.microsoft.com/office/drawing/2014/main" id="{B8563E19-D797-8B56-1751-C6D90E74393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Oval 312">
                <a:extLst>
                  <a:ext uri="{FF2B5EF4-FFF2-40B4-BE49-F238E27FC236}">
                    <a16:creationId xmlns:a16="http://schemas.microsoft.com/office/drawing/2014/main" id="{F2822590-C8C2-B7A2-0014-39C4046E940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Oval 313">
                <a:extLst>
                  <a:ext uri="{FF2B5EF4-FFF2-40B4-BE49-F238E27FC236}">
                    <a16:creationId xmlns:a16="http://schemas.microsoft.com/office/drawing/2014/main" id="{E36597DD-0259-C7C3-574F-4386A213E78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Oval 314">
                <a:extLst>
                  <a:ext uri="{FF2B5EF4-FFF2-40B4-BE49-F238E27FC236}">
                    <a16:creationId xmlns:a16="http://schemas.microsoft.com/office/drawing/2014/main" id="{6E0676AB-D10E-8F81-D866-7EA9A0B2571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Oval 315">
                <a:extLst>
                  <a:ext uri="{FF2B5EF4-FFF2-40B4-BE49-F238E27FC236}">
                    <a16:creationId xmlns:a16="http://schemas.microsoft.com/office/drawing/2014/main" id="{ADE81616-DA43-A8F9-8748-5B0D07DD738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Oval 316">
                <a:extLst>
                  <a:ext uri="{FF2B5EF4-FFF2-40B4-BE49-F238E27FC236}">
                    <a16:creationId xmlns:a16="http://schemas.microsoft.com/office/drawing/2014/main" id="{3CF62A48-F9EF-5AE1-8EE4-833590A7DEC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7" name="Group 296">
              <a:extLst>
                <a:ext uri="{FF2B5EF4-FFF2-40B4-BE49-F238E27FC236}">
                  <a16:creationId xmlns:a16="http://schemas.microsoft.com/office/drawing/2014/main" id="{66CF5A65-15A1-836D-415F-658C838DCBC4}"/>
                </a:ext>
              </a:extLst>
            </p:cNvPr>
            <p:cNvGrpSpPr/>
            <p:nvPr/>
          </p:nvGrpSpPr>
          <p:grpSpPr>
            <a:xfrm rot="5400000">
              <a:off x="1055270" y="223441"/>
              <a:ext cx="86591" cy="1729654"/>
              <a:chOff x="85292" y="59892"/>
              <a:chExt cx="86591" cy="1729654"/>
            </a:xfrm>
            <a:grpFill/>
          </p:grpSpPr>
          <p:sp>
            <p:nvSpPr>
              <p:cNvPr id="298" name="Oval 297">
                <a:extLst>
                  <a:ext uri="{FF2B5EF4-FFF2-40B4-BE49-F238E27FC236}">
                    <a16:creationId xmlns:a16="http://schemas.microsoft.com/office/drawing/2014/main" id="{60D6ED7C-4E48-3F4C-F1F1-F65E30541A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9" name="Oval 298">
                <a:extLst>
                  <a:ext uri="{FF2B5EF4-FFF2-40B4-BE49-F238E27FC236}">
                    <a16:creationId xmlns:a16="http://schemas.microsoft.com/office/drawing/2014/main" id="{B7232D10-C782-003F-5F62-3CF06C9A1E2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0" name="Oval 299">
                <a:extLst>
                  <a:ext uri="{FF2B5EF4-FFF2-40B4-BE49-F238E27FC236}">
                    <a16:creationId xmlns:a16="http://schemas.microsoft.com/office/drawing/2014/main" id="{654CFD65-46DA-3D75-0877-99A18D9127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1" name="Oval 300">
                <a:extLst>
                  <a:ext uri="{FF2B5EF4-FFF2-40B4-BE49-F238E27FC236}">
                    <a16:creationId xmlns:a16="http://schemas.microsoft.com/office/drawing/2014/main" id="{86BE29B5-9825-49FF-0759-DC858C4D18F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Oval 301">
                <a:extLst>
                  <a:ext uri="{FF2B5EF4-FFF2-40B4-BE49-F238E27FC236}">
                    <a16:creationId xmlns:a16="http://schemas.microsoft.com/office/drawing/2014/main" id="{04BD0901-3C66-7592-57BC-EAB68335355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Oval 302">
                <a:extLst>
                  <a:ext uri="{FF2B5EF4-FFF2-40B4-BE49-F238E27FC236}">
                    <a16:creationId xmlns:a16="http://schemas.microsoft.com/office/drawing/2014/main" id="{745BACBD-70BB-52EC-9E0E-0E23E48CAAA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Oval 303">
                <a:extLst>
                  <a:ext uri="{FF2B5EF4-FFF2-40B4-BE49-F238E27FC236}">
                    <a16:creationId xmlns:a16="http://schemas.microsoft.com/office/drawing/2014/main" id="{EFBD254F-27C5-80EA-42DD-A0E20C8592E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Oval 304">
                <a:extLst>
                  <a:ext uri="{FF2B5EF4-FFF2-40B4-BE49-F238E27FC236}">
                    <a16:creationId xmlns:a16="http://schemas.microsoft.com/office/drawing/2014/main" id="{52F4701F-F308-7984-A8E7-E96B5E7D108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Oval 305">
                <a:extLst>
                  <a:ext uri="{FF2B5EF4-FFF2-40B4-BE49-F238E27FC236}">
                    <a16:creationId xmlns:a16="http://schemas.microsoft.com/office/drawing/2014/main" id="{CF35CB32-2E86-379D-6705-491940CD428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Oval 306">
                <a:extLst>
                  <a:ext uri="{FF2B5EF4-FFF2-40B4-BE49-F238E27FC236}">
                    <a16:creationId xmlns:a16="http://schemas.microsoft.com/office/drawing/2014/main" id="{61E47D4C-A850-2135-2608-43D9978C7D1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3" name="Freeform 72">
            <a:extLst>
              <a:ext uri="{FF2B5EF4-FFF2-40B4-BE49-F238E27FC236}">
                <a16:creationId xmlns:a16="http://schemas.microsoft.com/office/drawing/2014/main" id="{66DF05F3-F9A8-1D42-BE75-A986943D68F5}"/>
              </a:ext>
            </a:extLst>
          </p:cNvPr>
          <p:cNvSpPr/>
          <p:nvPr/>
        </p:nvSpPr>
        <p:spPr>
          <a:xfrm>
            <a:off x="7164859" y="0"/>
            <a:ext cx="4292624" cy="6215894"/>
          </a:xfrm>
          <a:custGeom>
            <a:avLst/>
            <a:gdLst>
              <a:gd name="connsiteX0" fmla="*/ 0 w 4911500"/>
              <a:gd name="connsiteY0" fmla="*/ 0 h 6248400"/>
              <a:gd name="connsiteX1" fmla="*/ 4911500 w 4911500"/>
              <a:gd name="connsiteY1" fmla="*/ 0 h 6248400"/>
              <a:gd name="connsiteX2" fmla="*/ 4911500 w 4911500"/>
              <a:gd name="connsiteY2" fmla="*/ 4913859 h 6248400"/>
              <a:gd name="connsiteX3" fmla="*/ 4831038 w 4911500"/>
              <a:gd name="connsiteY3" fmla="*/ 4917922 h 6248400"/>
              <a:gd name="connsiteX4" fmla="*/ 3576727 w 4911500"/>
              <a:gd name="connsiteY4" fmla="*/ 6172233 h 6248400"/>
              <a:gd name="connsiteX5" fmla="*/ 3572881 w 4911500"/>
              <a:gd name="connsiteY5" fmla="*/ 6248400 h 6248400"/>
              <a:gd name="connsiteX6" fmla="*/ 0 w 4911500"/>
              <a:gd name="connsiteY6" fmla="*/ 6248400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1500" h="6248400">
                <a:moveTo>
                  <a:pt x="0" y="0"/>
                </a:moveTo>
                <a:lnTo>
                  <a:pt x="4911500" y="0"/>
                </a:lnTo>
                <a:lnTo>
                  <a:pt x="4911500" y="4913859"/>
                </a:lnTo>
                <a:lnTo>
                  <a:pt x="4831038" y="4917922"/>
                </a:lnTo>
                <a:cubicBezTo>
                  <a:pt x="4169675" y="4985087"/>
                  <a:pt x="3643892" y="5510870"/>
                  <a:pt x="3576727" y="6172233"/>
                </a:cubicBezTo>
                <a:lnTo>
                  <a:pt x="3572881" y="6248400"/>
                </a:lnTo>
                <a:lnTo>
                  <a:pt x="0" y="6248400"/>
                </a:lnTo>
                <a:close/>
              </a:path>
            </a:pathLst>
          </a:cu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1" name="Freeform 70">
            <a:extLst>
              <a:ext uri="{FF2B5EF4-FFF2-40B4-BE49-F238E27FC236}">
                <a16:creationId xmlns:a16="http://schemas.microsoft.com/office/drawing/2014/main" id="{8C974EDF-9D72-FC42-A9C9-9D2011C8EF65}"/>
              </a:ext>
            </a:extLst>
          </p:cNvPr>
          <p:cNvSpPr/>
          <p:nvPr/>
        </p:nvSpPr>
        <p:spPr>
          <a:xfrm flipH="1">
            <a:off x="10429136" y="5027546"/>
            <a:ext cx="1762864" cy="1847095"/>
          </a:xfrm>
          <a:custGeom>
            <a:avLst/>
            <a:gdLst>
              <a:gd name="connsiteX0" fmla="*/ 516755 w 1762864"/>
              <a:gd name="connsiteY0" fmla="*/ 0 h 1830455"/>
              <a:gd name="connsiteX1" fmla="*/ 88301 w 1762864"/>
              <a:gd name="connsiteY1" fmla="*/ 75614 h 1830455"/>
              <a:gd name="connsiteX2" fmla="*/ 0 w 1762864"/>
              <a:gd name="connsiteY2" fmla="*/ 116808 h 1830455"/>
              <a:gd name="connsiteX3" fmla="*/ 0 w 1762864"/>
              <a:gd name="connsiteY3" fmla="*/ 1830455 h 1830455"/>
              <a:gd name="connsiteX4" fmla="*/ 1616437 w 1762864"/>
              <a:gd name="connsiteY4" fmla="*/ 1830455 h 1830455"/>
              <a:gd name="connsiteX5" fmla="*/ 1646466 w 1762864"/>
              <a:gd name="connsiteY5" fmla="*/ 1772684 h 1830455"/>
              <a:gd name="connsiteX6" fmla="*/ 1762864 w 1762864"/>
              <a:gd name="connsiteY6" fmla="*/ 1246109 h 1830455"/>
              <a:gd name="connsiteX7" fmla="*/ 516755 w 1762864"/>
              <a:gd name="connsiteY7" fmla="*/ 0 h 18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864" h="1830455">
                <a:moveTo>
                  <a:pt x="516755" y="0"/>
                </a:moveTo>
                <a:cubicBezTo>
                  <a:pt x="366210" y="0"/>
                  <a:pt x="221899" y="26697"/>
                  <a:pt x="88301" y="75614"/>
                </a:cubicBezTo>
                <a:lnTo>
                  <a:pt x="0" y="116808"/>
                </a:lnTo>
                <a:lnTo>
                  <a:pt x="0" y="1830455"/>
                </a:lnTo>
                <a:lnTo>
                  <a:pt x="1616437" y="1830455"/>
                </a:lnTo>
                <a:lnTo>
                  <a:pt x="1646466" y="1772684"/>
                </a:lnTo>
                <a:cubicBezTo>
                  <a:pt x="1721151" y="1612730"/>
                  <a:pt x="1762864" y="1434291"/>
                  <a:pt x="1762864" y="1246109"/>
                </a:cubicBezTo>
                <a:cubicBezTo>
                  <a:pt x="1762864" y="557902"/>
                  <a:pt x="1204962" y="0"/>
                  <a:pt x="516755" y="0"/>
                </a:cubicBezTo>
                <a:close/>
              </a:path>
            </a:pathLst>
          </a:custGeom>
          <a:solidFill>
            <a:srgbClr val="168DA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8" name="Oval 67">
            <a:extLst>
              <a:ext uri="{FF2B5EF4-FFF2-40B4-BE49-F238E27FC236}">
                <a16:creationId xmlns:a16="http://schemas.microsoft.com/office/drawing/2014/main" id="{7F64014D-429E-6845-B400-86406B99F80E}"/>
              </a:ext>
            </a:extLst>
          </p:cNvPr>
          <p:cNvSpPr/>
          <p:nvPr/>
        </p:nvSpPr>
        <p:spPr>
          <a:xfrm flipH="1">
            <a:off x="11192313" y="5790722"/>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86" name="Freeform 22">
            <a:extLst>
              <a:ext uri="{FF2B5EF4-FFF2-40B4-BE49-F238E27FC236}">
                <a16:creationId xmlns:a16="http://schemas.microsoft.com/office/drawing/2014/main" id="{18231E10-D5D5-A047-B056-075B9A617D5A}"/>
              </a:ext>
            </a:extLst>
          </p:cNvPr>
          <p:cNvSpPr/>
          <p:nvPr/>
        </p:nvSpPr>
        <p:spPr>
          <a:xfrm>
            <a:off x="-25422" y="-1"/>
            <a:ext cx="5634903" cy="4903305"/>
          </a:xfrm>
          <a:custGeom>
            <a:avLst/>
            <a:gdLst>
              <a:gd name="connsiteX0" fmla="*/ 0 w 5634903"/>
              <a:gd name="connsiteY0" fmla="*/ 0 h 4903305"/>
              <a:gd name="connsiteX1" fmla="*/ 5391256 w 5634903"/>
              <a:gd name="connsiteY1" fmla="*/ 0 h 4903305"/>
              <a:gd name="connsiteX2" fmla="*/ 5472699 w 5634903"/>
              <a:gd name="connsiteY2" fmla="*/ 222519 h 4903305"/>
              <a:gd name="connsiteX3" fmla="*/ 5634903 w 5634903"/>
              <a:gd name="connsiteY3" fmla="*/ 1295400 h 4903305"/>
              <a:gd name="connsiteX4" fmla="*/ 2026998 w 5634903"/>
              <a:gd name="connsiteY4" fmla="*/ 4903305 h 4903305"/>
              <a:gd name="connsiteX5" fmla="*/ 9784 w 5634903"/>
              <a:gd name="connsiteY5" fmla="*/ 4287132 h 4903305"/>
              <a:gd name="connsiteX6" fmla="*/ 0 w 5634903"/>
              <a:gd name="connsiteY6" fmla="*/ 4279815 h 490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903" h="4903305">
                <a:moveTo>
                  <a:pt x="0" y="0"/>
                </a:moveTo>
                <a:lnTo>
                  <a:pt x="5391256" y="0"/>
                </a:lnTo>
                <a:lnTo>
                  <a:pt x="5472699" y="222519"/>
                </a:lnTo>
                <a:cubicBezTo>
                  <a:pt x="5578115" y="561442"/>
                  <a:pt x="5634903" y="921789"/>
                  <a:pt x="5634903" y="1295400"/>
                </a:cubicBezTo>
                <a:cubicBezTo>
                  <a:pt x="5634903" y="3287991"/>
                  <a:pt x="4019589" y="4903305"/>
                  <a:pt x="2026998" y="4903305"/>
                </a:cubicBezTo>
                <a:cubicBezTo>
                  <a:pt x="1279776" y="4903305"/>
                  <a:pt x="585609" y="4676152"/>
                  <a:pt x="9784" y="4287132"/>
                </a:cubicBezTo>
                <a:lnTo>
                  <a:pt x="0" y="4279815"/>
                </a:lnTo>
                <a:close/>
              </a:path>
            </a:pathLst>
          </a:custGeom>
          <a:solidFill>
            <a:schemeClr val="accent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87" name="Freeform 24">
            <a:extLst>
              <a:ext uri="{FF2B5EF4-FFF2-40B4-BE49-F238E27FC236}">
                <a16:creationId xmlns:a16="http://schemas.microsoft.com/office/drawing/2014/main" id="{FEEB5AAC-1E01-8A11-856D-58EC011877B3}"/>
              </a:ext>
            </a:extLst>
          </p:cNvPr>
          <p:cNvSpPr/>
          <p:nvPr/>
        </p:nvSpPr>
        <p:spPr>
          <a:xfrm>
            <a:off x="-1" y="-1"/>
            <a:ext cx="3392908" cy="2478506"/>
          </a:xfrm>
          <a:custGeom>
            <a:avLst/>
            <a:gdLst>
              <a:gd name="connsiteX0" fmla="*/ 0 w 3392908"/>
              <a:gd name="connsiteY0" fmla="*/ 0 h 2478506"/>
              <a:gd name="connsiteX1" fmla="*/ 3369087 w 3392908"/>
              <a:gd name="connsiteY1" fmla="*/ 0 h 2478506"/>
              <a:gd name="connsiteX2" fmla="*/ 3381686 w 3392908"/>
              <a:gd name="connsiteY2" fmla="*/ 82552 h 2478506"/>
              <a:gd name="connsiteX3" fmla="*/ 3392908 w 3392908"/>
              <a:gd name="connsiteY3" fmla="*/ 304801 h 2478506"/>
              <a:gd name="connsiteX4" fmla="*/ 1219202 w 3392908"/>
              <a:gd name="connsiteY4" fmla="*/ 2478506 h 2478506"/>
              <a:gd name="connsiteX5" fmla="*/ 3862 w 3392908"/>
              <a:gd name="connsiteY5" fmla="*/ 2107271 h 2478506"/>
              <a:gd name="connsiteX6" fmla="*/ 0 w 3392908"/>
              <a:gd name="connsiteY6" fmla="*/ 2104383 h 2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2908" h="2478506">
                <a:moveTo>
                  <a:pt x="0" y="0"/>
                </a:moveTo>
                <a:lnTo>
                  <a:pt x="3369087" y="0"/>
                </a:lnTo>
                <a:lnTo>
                  <a:pt x="3381686" y="82552"/>
                </a:lnTo>
                <a:cubicBezTo>
                  <a:pt x="3389107" y="155626"/>
                  <a:pt x="3392908" y="229770"/>
                  <a:pt x="3392908" y="304801"/>
                </a:cubicBezTo>
                <a:cubicBezTo>
                  <a:pt x="3392908" y="1505305"/>
                  <a:pt x="2419707" y="2478506"/>
                  <a:pt x="1219202" y="2478506"/>
                </a:cubicBezTo>
                <a:cubicBezTo>
                  <a:pt x="769013" y="2478506"/>
                  <a:pt x="350788" y="2341650"/>
                  <a:pt x="3862" y="2107271"/>
                </a:cubicBezTo>
                <a:lnTo>
                  <a:pt x="0" y="2104383"/>
                </a:lnTo>
                <a:close/>
              </a:path>
            </a:pathLst>
          </a:custGeom>
          <a:solidFill>
            <a:srgbClr val="168DA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8" name="Pie 13">
            <a:extLst>
              <a:ext uri="{FF2B5EF4-FFF2-40B4-BE49-F238E27FC236}">
                <a16:creationId xmlns:a16="http://schemas.microsoft.com/office/drawing/2014/main" id="{B82BFA0A-62C3-2101-3ED8-49900DB54BC1}"/>
              </a:ext>
            </a:extLst>
          </p:cNvPr>
          <p:cNvSpPr/>
          <p:nvPr/>
        </p:nvSpPr>
        <p:spPr>
          <a:xfrm>
            <a:off x="-472451" y="-1203885"/>
            <a:ext cx="4998838" cy="4998885"/>
          </a:xfrm>
          <a:custGeom>
            <a:avLst/>
            <a:gdLst>
              <a:gd name="connsiteX0" fmla="*/ 3234812 w 4998564"/>
              <a:gd name="connsiteY0" fmla="*/ 4887879 h 4998562"/>
              <a:gd name="connsiteX1" fmla="*/ 286912 w 4998564"/>
              <a:gd name="connsiteY1" fmla="*/ 3661963 h 4998562"/>
              <a:gd name="connsiteX2" fmla="*/ 949190 w 4998564"/>
              <a:gd name="connsiteY2" fmla="*/ 538764 h 4998562"/>
              <a:gd name="connsiteX3" fmla="*/ 4140930 w 4998564"/>
              <a:gd name="connsiteY3" fmla="*/ 614765 h 4998562"/>
              <a:gd name="connsiteX4" fmla="*/ 4653804 w 4998564"/>
              <a:gd name="connsiteY4" fmla="*/ 3765946 h 4998562"/>
              <a:gd name="connsiteX5" fmla="*/ 2499282 w 4998564"/>
              <a:gd name="connsiteY5" fmla="*/ 2499281 h 4998562"/>
              <a:gd name="connsiteX6" fmla="*/ 3234812 w 4998564"/>
              <a:gd name="connsiteY6" fmla="*/ 4887879 h 4998562"/>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6" fmla="*/ 2590889 w 4998838"/>
              <a:gd name="connsiteY6" fmla="*/ 2590724 h 4998885"/>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0" fmla="*/ 3234979 w 4998838"/>
              <a:gd name="connsiteY0" fmla="*/ 4887882 h 4998885"/>
              <a:gd name="connsiteX1" fmla="*/ 287079 w 4998838"/>
              <a:gd name="connsiteY1" fmla="*/ 3661966 h 4998885"/>
              <a:gd name="connsiteX2" fmla="*/ 949357 w 4998838"/>
              <a:gd name="connsiteY2" fmla="*/ 538767 h 4998885"/>
              <a:gd name="connsiteX3" fmla="*/ 4141097 w 4998838"/>
              <a:gd name="connsiteY3" fmla="*/ 614768 h 4998885"/>
              <a:gd name="connsiteX4" fmla="*/ 4653971 w 4998838"/>
              <a:gd name="connsiteY4" fmla="*/ 3765949 h 4998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8838" h="4998885">
                <a:moveTo>
                  <a:pt x="3234979" y="4887882"/>
                </a:moveTo>
                <a:cubicBezTo>
                  <a:pt x="2085370" y="5241885"/>
                  <a:pt x="846667" y="4726757"/>
                  <a:pt x="287079" y="3661966"/>
                </a:cubicBezTo>
                <a:cubicBezTo>
                  <a:pt x="-272509" y="2597174"/>
                  <a:pt x="5779" y="1284811"/>
                  <a:pt x="949357" y="538767"/>
                </a:cubicBezTo>
                <a:cubicBezTo>
                  <a:pt x="1892934" y="-207276"/>
                  <a:pt x="3234098" y="-175341"/>
                  <a:pt x="4141097" y="614768"/>
                </a:cubicBezTo>
                <a:cubicBezTo>
                  <a:pt x="5048096" y="1404877"/>
                  <a:pt x="5263605" y="2728999"/>
                  <a:pt x="4653971" y="3765949"/>
                </a:cubicBez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C79612D9-F490-C0A4-3DE1-1B887296D590}"/>
              </a:ext>
            </a:extLst>
          </p:cNvPr>
          <p:cNvSpPr/>
          <p:nvPr/>
        </p:nvSpPr>
        <p:spPr>
          <a:xfrm>
            <a:off x="1029880" y="1101833"/>
            <a:ext cx="4961935" cy="830997"/>
          </a:xfrm>
          <a:prstGeom prst="rect">
            <a:avLst/>
          </a:prstGeom>
          <a:noFill/>
        </p:spPr>
        <p:txBody>
          <a:bodyPr wrap="none" lIns="91440" tIns="45720" rIns="91440" bIns="45720">
            <a:spAutoFit/>
          </a:bodyPr>
          <a:lstStyle/>
          <a:p>
            <a:pPr algn="ctr"/>
            <a:r>
              <a:rPr lang="en-US" sz="4800" b="1" spc="50" dirty="0">
                <a:ln w="9525" cmpd="sng">
                  <a:solidFill>
                    <a:schemeClr val="accent1"/>
                  </a:solidFill>
                  <a:prstDash val="solid"/>
                </a:ln>
                <a:solidFill>
                  <a:srgbClr val="70AD47">
                    <a:tint val="1000"/>
                  </a:srgbClr>
                </a:solidFill>
                <a:effectLst>
                  <a:glow rad="38100">
                    <a:schemeClr val="accent1">
                      <a:alpha val="40000"/>
                    </a:schemeClr>
                  </a:glow>
                  <a:outerShdw blurRad="38100" dist="38100" dir="2700000" algn="tl">
                    <a:srgbClr val="000000">
                      <a:alpha val="43137"/>
                    </a:srgbClr>
                  </a:outerShdw>
                </a:effectLst>
                <a:latin typeface="Arial Black" panose="020B0A04020102020204" pitchFamily="34" charset="0"/>
              </a:rPr>
              <a:t>Presented By:</a:t>
            </a:r>
            <a:endParaRPr lang="en-US" sz="4800" b="1" cap="none" spc="50" dirty="0">
              <a:ln w="9525" cmpd="sng">
                <a:solidFill>
                  <a:schemeClr val="accent1"/>
                </a:solidFill>
                <a:prstDash val="solid"/>
              </a:ln>
              <a:solidFill>
                <a:srgbClr val="70AD47">
                  <a:tint val="1000"/>
                </a:srgbClr>
              </a:solidFill>
              <a:effectLst>
                <a:glow rad="38100">
                  <a:schemeClr val="accent1">
                    <a:alpha val="40000"/>
                  </a:schemeClr>
                </a:glow>
                <a:outerShdw blurRad="38100" dist="38100" dir="2700000" algn="tl">
                  <a:srgbClr val="000000">
                    <a:alpha val="43137"/>
                  </a:srgbClr>
                </a:outerShdw>
              </a:effectLst>
              <a:latin typeface="Arial Black" panose="020B0A04020102020204" pitchFamily="34" charset="0"/>
            </a:endParaRPr>
          </a:p>
        </p:txBody>
      </p:sp>
      <p:sp>
        <p:nvSpPr>
          <p:cNvPr id="5" name="Rectangle 4">
            <a:extLst>
              <a:ext uri="{FF2B5EF4-FFF2-40B4-BE49-F238E27FC236}">
                <a16:creationId xmlns:a16="http://schemas.microsoft.com/office/drawing/2014/main" id="{ACEE3845-510C-9F29-075B-E7D37A3F5D28}"/>
              </a:ext>
            </a:extLst>
          </p:cNvPr>
          <p:cNvSpPr/>
          <p:nvPr/>
        </p:nvSpPr>
        <p:spPr>
          <a:xfrm>
            <a:off x="948029" y="2398572"/>
            <a:ext cx="5869684" cy="3240952"/>
          </a:xfrm>
          <a:prstGeom prst="rect">
            <a:avLst/>
          </a:prstGeom>
          <a:noFill/>
        </p:spPr>
        <p:txBody>
          <a:bodyPr wrap="none" lIns="91440" tIns="45720" rIns="91440" bIns="45720">
            <a:spAutoFit/>
          </a:bodyPr>
          <a:lstStyle/>
          <a:p>
            <a:pPr marL="457200" indent="-457200">
              <a:lnSpc>
                <a:spcPct val="150000"/>
              </a:lnSpc>
              <a:buFont typeface="Arial" panose="020B0604020202020204" pitchFamily="34" charset="0"/>
              <a:buChar char="•"/>
            </a:pPr>
            <a:r>
              <a:rPr lang="en-US" sz="2800" b="1"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Dina Mahmoud Mohamed </a:t>
            </a:r>
          </a:p>
          <a:p>
            <a:pPr marL="457200" indent="-457200">
              <a:lnSpc>
                <a:spcPct val="150000"/>
              </a:lnSpc>
              <a:buFont typeface="Arial" panose="020B0604020202020204" pitchFamily="34" charset="0"/>
              <a:buChar char="•"/>
            </a:pPr>
            <a:r>
              <a:rPr lang="en-US" sz="2800" b="1"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Esraa Sayed Ahmad</a:t>
            </a:r>
          </a:p>
          <a:p>
            <a:pPr marL="457200" indent="-457200">
              <a:lnSpc>
                <a:spcPct val="150000"/>
              </a:lnSpc>
              <a:buFont typeface="Arial" panose="020B0604020202020204" pitchFamily="34" charset="0"/>
              <a:buChar char="•"/>
            </a:pPr>
            <a:r>
              <a:rPr lang="en-US" sz="2800" b="1"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Heba Allah Mohamed Ibrahim</a:t>
            </a:r>
          </a:p>
          <a:p>
            <a:pPr marL="457200" indent="-457200">
              <a:lnSpc>
                <a:spcPct val="150000"/>
              </a:lnSpc>
              <a:buFont typeface="Arial" panose="020B0604020202020204" pitchFamily="34" charset="0"/>
              <a:buChar char="•"/>
            </a:pPr>
            <a:r>
              <a:rPr lang="en-US" sz="2800" b="1"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Nada Elaraby Mohamed</a:t>
            </a:r>
          </a:p>
          <a:p>
            <a:pPr marL="457200" indent="-457200">
              <a:lnSpc>
                <a:spcPct val="150000"/>
              </a:lnSpc>
              <a:buFont typeface="Arial" panose="020B0604020202020204" pitchFamily="34" charset="0"/>
              <a:buChar char="•"/>
            </a:pPr>
            <a:r>
              <a:rPr lang="en-US" sz="2800" b="1" cap="none"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Toka Mohamed Abdou </a:t>
            </a:r>
          </a:p>
        </p:txBody>
      </p:sp>
      <p:sp>
        <p:nvSpPr>
          <p:cNvPr id="15" name="TextBox 14">
            <a:extLst>
              <a:ext uri="{FF2B5EF4-FFF2-40B4-BE49-F238E27FC236}">
                <a16:creationId xmlns:a16="http://schemas.microsoft.com/office/drawing/2014/main" id="{91752ECB-24EA-47E6-A934-CB1C5087D3FD}"/>
              </a:ext>
            </a:extLst>
          </p:cNvPr>
          <p:cNvSpPr txBox="1"/>
          <p:nvPr/>
        </p:nvSpPr>
        <p:spPr>
          <a:xfrm>
            <a:off x="7097871" y="1388087"/>
            <a:ext cx="4292624" cy="3631763"/>
          </a:xfrm>
          <a:prstGeom prst="rect">
            <a:avLst/>
          </a:prstGeom>
          <a:noFill/>
        </p:spPr>
        <p:txBody>
          <a:bodyPr wrap="square" rtlCol="0">
            <a:spAutoFit/>
          </a:bodyPr>
          <a:lstStyle/>
          <a:p>
            <a:pPr algn="ctr"/>
            <a:r>
              <a:rPr lang="en-IN" sz="11500" dirty="0">
                <a:solidFill>
                  <a:srgbClr val="168DA5">
                    <a:alpha val="30000"/>
                  </a:srgbClr>
                </a:solidFill>
                <a:latin typeface="Script MT Bold" panose="03040602040607080904" pitchFamily="66" charset="0"/>
              </a:rPr>
              <a:t>Thank You</a:t>
            </a:r>
          </a:p>
        </p:txBody>
      </p:sp>
      <p:sp>
        <p:nvSpPr>
          <p:cNvPr id="18" name="TextBox 17">
            <a:extLst>
              <a:ext uri="{FF2B5EF4-FFF2-40B4-BE49-F238E27FC236}">
                <a16:creationId xmlns:a16="http://schemas.microsoft.com/office/drawing/2014/main" id="{2248BAED-A55E-D212-3CF0-02626FB728B3}"/>
              </a:ext>
            </a:extLst>
          </p:cNvPr>
          <p:cNvSpPr txBox="1"/>
          <p:nvPr/>
        </p:nvSpPr>
        <p:spPr>
          <a:xfrm>
            <a:off x="7164859" y="1892281"/>
            <a:ext cx="4292624" cy="2554545"/>
          </a:xfrm>
          <a:prstGeom prst="rect">
            <a:avLst/>
          </a:prstGeom>
          <a:noFill/>
        </p:spPr>
        <p:txBody>
          <a:bodyPr wrap="square" rtlCol="0">
            <a:spAutoFit/>
          </a:bodyPr>
          <a:lstStyle/>
          <a:p>
            <a:pPr algn="ctr"/>
            <a:r>
              <a:rPr lang="en-IN" sz="8000" dirty="0">
                <a:solidFill>
                  <a:srgbClr val="168DA5"/>
                </a:solidFill>
                <a:latin typeface="Britannic Bold" panose="020B0903060703020204" pitchFamily="34" charset="0"/>
                <a:cs typeface="Aharoni" panose="02010803020104030203" pitchFamily="2" charset="-79"/>
              </a:rPr>
              <a:t>Thank You</a:t>
            </a:r>
          </a:p>
        </p:txBody>
      </p:sp>
      <p:grpSp>
        <p:nvGrpSpPr>
          <p:cNvPr id="20" name="Group 19">
            <a:extLst>
              <a:ext uri="{FF2B5EF4-FFF2-40B4-BE49-F238E27FC236}">
                <a16:creationId xmlns:a16="http://schemas.microsoft.com/office/drawing/2014/main" id="{EF92C539-DAE6-1E33-DBCA-85E03490812E}"/>
              </a:ext>
            </a:extLst>
          </p:cNvPr>
          <p:cNvGrpSpPr/>
          <p:nvPr/>
        </p:nvGrpSpPr>
        <p:grpSpPr>
          <a:xfrm flipH="1">
            <a:off x="-7335" y="5590698"/>
            <a:ext cx="2764139" cy="1070578"/>
            <a:chOff x="462087" y="5465252"/>
            <a:chExt cx="2764139" cy="1070578"/>
          </a:xfrm>
        </p:grpSpPr>
        <p:cxnSp>
          <p:nvCxnSpPr>
            <p:cNvPr id="21" name="Straight Connector 20">
              <a:extLst>
                <a:ext uri="{FF2B5EF4-FFF2-40B4-BE49-F238E27FC236}">
                  <a16:creationId xmlns:a16="http://schemas.microsoft.com/office/drawing/2014/main" id="{E70CA846-77C9-CDD2-7364-305B70ED2F0E}"/>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F08801A6-E03C-8CA2-380F-7E257CB0ED7A}"/>
                </a:ext>
              </a:extLst>
            </p:cNvPr>
            <p:cNvSpPr/>
            <p:nvPr/>
          </p:nvSpPr>
          <p:spPr>
            <a:xfrm flipH="1">
              <a:off x="462087" y="5465252"/>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0CAD831-FA10-1BAB-4AC1-FFAF45A242A6}"/>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4" name="Straight Connector 23">
            <a:extLst>
              <a:ext uri="{FF2B5EF4-FFF2-40B4-BE49-F238E27FC236}">
                <a16:creationId xmlns:a16="http://schemas.microsoft.com/office/drawing/2014/main" id="{643178EF-9FD3-359B-4C17-C6D6D671476C}"/>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A45C030A-A03F-1504-F1B7-85B20E57D185}"/>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204" name="Group 203">
              <a:extLst>
                <a:ext uri="{FF2B5EF4-FFF2-40B4-BE49-F238E27FC236}">
                  <a16:creationId xmlns:a16="http://schemas.microsoft.com/office/drawing/2014/main" id="{F372DDB3-B34D-2119-5517-F6B7A687AD69}"/>
                </a:ext>
              </a:extLst>
            </p:cNvPr>
            <p:cNvGrpSpPr/>
            <p:nvPr/>
          </p:nvGrpSpPr>
          <p:grpSpPr>
            <a:xfrm rot="5400000">
              <a:off x="1055270" y="-538236"/>
              <a:ext cx="86591" cy="1729654"/>
              <a:chOff x="85292" y="59892"/>
              <a:chExt cx="86591" cy="1729654"/>
            </a:xfrm>
            <a:grpFill/>
          </p:grpSpPr>
          <p:sp>
            <p:nvSpPr>
              <p:cNvPr id="238" name="Oval 237">
                <a:extLst>
                  <a:ext uri="{FF2B5EF4-FFF2-40B4-BE49-F238E27FC236}">
                    <a16:creationId xmlns:a16="http://schemas.microsoft.com/office/drawing/2014/main" id="{5527C719-1CFE-0637-B34A-44F5ABCA658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9" name="Oval 238">
                <a:extLst>
                  <a:ext uri="{FF2B5EF4-FFF2-40B4-BE49-F238E27FC236}">
                    <a16:creationId xmlns:a16="http://schemas.microsoft.com/office/drawing/2014/main" id="{BA208E55-CE71-25D2-D734-E7ACDDC97E4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0" name="Oval 239">
                <a:extLst>
                  <a:ext uri="{FF2B5EF4-FFF2-40B4-BE49-F238E27FC236}">
                    <a16:creationId xmlns:a16="http://schemas.microsoft.com/office/drawing/2014/main" id="{43AED7F3-F89B-ACC9-8C9B-85A10A51FDA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1" name="Oval 240">
                <a:extLst>
                  <a:ext uri="{FF2B5EF4-FFF2-40B4-BE49-F238E27FC236}">
                    <a16:creationId xmlns:a16="http://schemas.microsoft.com/office/drawing/2014/main" id="{514486BA-A0E9-E29E-1E18-7982CF4FA99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2" name="Oval 241">
                <a:extLst>
                  <a:ext uri="{FF2B5EF4-FFF2-40B4-BE49-F238E27FC236}">
                    <a16:creationId xmlns:a16="http://schemas.microsoft.com/office/drawing/2014/main" id="{74011CA1-8BDC-6BBC-C76A-A001557B2C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Oval 242">
                <a:extLst>
                  <a:ext uri="{FF2B5EF4-FFF2-40B4-BE49-F238E27FC236}">
                    <a16:creationId xmlns:a16="http://schemas.microsoft.com/office/drawing/2014/main" id="{E085E4B2-D096-1056-B5F6-3B14B6DE1D0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4" name="Oval 243">
                <a:extLst>
                  <a:ext uri="{FF2B5EF4-FFF2-40B4-BE49-F238E27FC236}">
                    <a16:creationId xmlns:a16="http://schemas.microsoft.com/office/drawing/2014/main" id="{97A5E273-3F00-3ACA-ADFB-9B627037DC9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Oval 244">
                <a:extLst>
                  <a:ext uri="{FF2B5EF4-FFF2-40B4-BE49-F238E27FC236}">
                    <a16:creationId xmlns:a16="http://schemas.microsoft.com/office/drawing/2014/main" id="{87B155B4-E5A7-3E54-36F7-BD0E830E574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Oval 245">
                <a:extLst>
                  <a:ext uri="{FF2B5EF4-FFF2-40B4-BE49-F238E27FC236}">
                    <a16:creationId xmlns:a16="http://schemas.microsoft.com/office/drawing/2014/main" id="{7F639425-1516-8D4C-4EC4-5F160F36A82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Oval 246">
                <a:extLst>
                  <a:ext uri="{FF2B5EF4-FFF2-40B4-BE49-F238E27FC236}">
                    <a16:creationId xmlns:a16="http://schemas.microsoft.com/office/drawing/2014/main" id="{9E7FBB6C-AEB8-9EE9-BC8E-584EAE96367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5" name="Group 204">
              <a:extLst>
                <a:ext uri="{FF2B5EF4-FFF2-40B4-BE49-F238E27FC236}">
                  <a16:creationId xmlns:a16="http://schemas.microsoft.com/office/drawing/2014/main" id="{CA907113-6F68-A009-349E-BC1043BA4E21}"/>
                </a:ext>
              </a:extLst>
            </p:cNvPr>
            <p:cNvGrpSpPr/>
            <p:nvPr/>
          </p:nvGrpSpPr>
          <p:grpSpPr>
            <a:xfrm rot="5400000">
              <a:off x="1055270" y="-284344"/>
              <a:ext cx="86591" cy="1729654"/>
              <a:chOff x="85292" y="59892"/>
              <a:chExt cx="86591" cy="1729654"/>
            </a:xfrm>
            <a:grpFill/>
          </p:grpSpPr>
          <p:sp>
            <p:nvSpPr>
              <p:cNvPr id="228" name="Oval 227">
                <a:extLst>
                  <a:ext uri="{FF2B5EF4-FFF2-40B4-BE49-F238E27FC236}">
                    <a16:creationId xmlns:a16="http://schemas.microsoft.com/office/drawing/2014/main" id="{BCA1B3F7-16DD-494D-D4E1-42B1B60070C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Oval 228">
                <a:extLst>
                  <a:ext uri="{FF2B5EF4-FFF2-40B4-BE49-F238E27FC236}">
                    <a16:creationId xmlns:a16="http://schemas.microsoft.com/office/drawing/2014/main" id="{437E39B6-4AA1-C640-E30B-AB3C4F5F333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0" name="Oval 229">
                <a:extLst>
                  <a:ext uri="{FF2B5EF4-FFF2-40B4-BE49-F238E27FC236}">
                    <a16:creationId xmlns:a16="http://schemas.microsoft.com/office/drawing/2014/main" id="{05AC4F99-F30A-A6F6-42C3-241DF8C7FEB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Oval 230">
                <a:extLst>
                  <a:ext uri="{FF2B5EF4-FFF2-40B4-BE49-F238E27FC236}">
                    <a16:creationId xmlns:a16="http://schemas.microsoft.com/office/drawing/2014/main" id="{FF84B3F5-FEAD-832F-4A20-65EDF9D94B4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2" name="Oval 231">
                <a:extLst>
                  <a:ext uri="{FF2B5EF4-FFF2-40B4-BE49-F238E27FC236}">
                    <a16:creationId xmlns:a16="http://schemas.microsoft.com/office/drawing/2014/main" id="{0755C36C-52C0-73A0-60E7-1D5BD0A16C8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3" name="Oval 232">
                <a:extLst>
                  <a:ext uri="{FF2B5EF4-FFF2-40B4-BE49-F238E27FC236}">
                    <a16:creationId xmlns:a16="http://schemas.microsoft.com/office/drawing/2014/main" id="{1CF43B22-5EB8-F961-9C62-A612E2E34B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4" name="Oval 233">
                <a:extLst>
                  <a:ext uri="{FF2B5EF4-FFF2-40B4-BE49-F238E27FC236}">
                    <a16:creationId xmlns:a16="http://schemas.microsoft.com/office/drawing/2014/main" id="{55E034B7-1951-83BA-A63B-D9876E7C53C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5" name="Oval 234">
                <a:extLst>
                  <a:ext uri="{FF2B5EF4-FFF2-40B4-BE49-F238E27FC236}">
                    <a16:creationId xmlns:a16="http://schemas.microsoft.com/office/drawing/2014/main" id="{AFBE787A-0D40-B1FA-6F9D-1C972EA8AA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Oval 235">
                <a:extLst>
                  <a:ext uri="{FF2B5EF4-FFF2-40B4-BE49-F238E27FC236}">
                    <a16:creationId xmlns:a16="http://schemas.microsoft.com/office/drawing/2014/main" id="{5170AA60-C159-2878-A24A-D5BD85C5801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7" name="Oval 236">
                <a:extLst>
                  <a:ext uri="{FF2B5EF4-FFF2-40B4-BE49-F238E27FC236}">
                    <a16:creationId xmlns:a16="http://schemas.microsoft.com/office/drawing/2014/main" id="{4E52A135-9742-E71D-F2DD-00511BDC2A6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6" name="Group 205">
              <a:extLst>
                <a:ext uri="{FF2B5EF4-FFF2-40B4-BE49-F238E27FC236}">
                  <a16:creationId xmlns:a16="http://schemas.microsoft.com/office/drawing/2014/main" id="{38927436-24FA-D392-6629-F53D1F1A4E46}"/>
                </a:ext>
              </a:extLst>
            </p:cNvPr>
            <p:cNvGrpSpPr/>
            <p:nvPr/>
          </p:nvGrpSpPr>
          <p:grpSpPr>
            <a:xfrm rot="5400000">
              <a:off x="1055270" y="-30452"/>
              <a:ext cx="86591" cy="1729654"/>
              <a:chOff x="85292" y="59892"/>
              <a:chExt cx="86591" cy="1729654"/>
            </a:xfrm>
            <a:grpFill/>
          </p:grpSpPr>
          <p:sp>
            <p:nvSpPr>
              <p:cNvPr id="218" name="Oval 217">
                <a:extLst>
                  <a:ext uri="{FF2B5EF4-FFF2-40B4-BE49-F238E27FC236}">
                    <a16:creationId xmlns:a16="http://schemas.microsoft.com/office/drawing/2014/main" id="{58A7AF0C-9DCC-AA56-6BB1-505C0D72A0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Oval 218">
                <a:extLst>
                  <a:ext uri="{FF2B5EF4-FFF2-40B4-BE49-F238E27FC236}">
                    <a16:creationId xmlns:a16="http://schemas.microsoft.com/office/drawing/2014/main" id="{F28FE9D3-E32C-80A1-3E1B-DE4654A932C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Oval 219">
                <a:extLst>
                  <a:ext uri="{FF2B5EF4-FFF2-40B4-BE49-F238E27FC236}">
                    <a16:creationId xmlns:a16="http://schemas.microsoft.com/office/drawing/2014/main" id="{3FF2CD1A-AF3D-012C-6D94-B86FC4B49E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5FF07F79-0CF4-2B5D-A3E3-9CE60AC5428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55A9EDEA-2353-6C0E-A19A-3A6AAC2280A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3" name="Oval 222">
                <a:extLst>
                  <a:ext uri="{FF2B5EF4-FFF2-40B4-BE49-F238E27FC236}">
                    <a16:creationId xmlns:a16="http://schemas.microsoft.com/office/drawing/2014/main" id="{F21DC4D3-1083-3085-AB79-3243C23258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Oval 223">
                <a:extLst>
                  <a:ext uri="{FF2B5EF4-FFF2-40B4-BE49-F238E27FC236}">
                    <a16:creationId xmlns:a16="http://schemas.microsoft.com/office/drawing/2014/main" id="{44EE7BF2-D496-815D-C87F-2A5A5913A0C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Oval 224">
                <a:extLst>
                  <a:ext uri="{FF2B5EF4-FFF2-40B4-BE49-F238E27FC236}">
                    <a16:creationId xmlns:a16="http://schemas.microsoft.com/office/drawing/2014/main" id="{9335F1A0-5CED-9603-6F61-75049C05495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Oval 225">
                <a:extLst>
                  <a:ext uri="{FF2B5EF4-FFF2-40B4-BE49-F238E27FC236}">
                    <a16:creationId xmlns:a16="http://schemas.microsoft.com/office/drawing/2014/main" id="{889BD811-1CCC-8B06-34FC-B5237539817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7" name="Oval 226">
                <a:extLst>
                  <a:ext uri="{FF2B5EF4-FFF2-40B4-BE49-F238E27FC236}">
                    <a16:creationId xmlns:a16="http://schemas.microsoft.com/office/drawing/2014/main" id="{EA4B95FE-5CD1-8F76-BBE5-019689996C1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7" name="Group 206">
              <a:extLst>
                <a:ext uri="{FF2B5EF4-FFF2-40B4-BE49-F238E27FC236}">
                  <a16:creationId xmlns:a16="http://schemas.microsoft.com/office/drawing/2014/main" id="{5C4503D5-C290-A83A-7EC6-4F63C8430B19}"/>
                </a:ext>
              </a:extLst>
            </p:cNvPr>
            <p:cNvGrpSpPr/>
            <p:nvPr/>
          </p:nvGrpSpPr>
          <p:grpSpPr>
            <a:xfrm rot="5400000">
              <a:off x="1055270" y="223441"/>
              <a:ext cx="86591" cy="1729654"/>
              <a:chOff x="85292" y="59892"/>
              <a:chExt cx="86591" cy="1729654"/>
            </a:xfrm>
            <a:grpFill/>
          </p:grpSpPr>
          <p:sp>
            <p:nvSpPr>
              <p:cNvPr id="208" name="Oval 207">
                <a:extLst>
                  <a:ext uri="{FF2B5EF4-FFF2-40B4-BE49-F238E27FC236}">
                    <a16:creationId xmlns:a16="http://schemas.microsoft.com/office/drawing/2014/main" id="{14AE2121-60C3-2DF0-4BF7-80832C476DD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Oval 208">
                <a:extLst>
                  <a:ext uri="{FF2B5EF4-FFF2-40B4-BE49-F238E27FC236}">
                    <a16:creationId xmlns:a16="http://schemas.microsoft.com/office/drawing/2014/main" id="{152CA70C-9302-EEF2-DBE3-078FB3905F4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B5F61B4A-D511-F02D-0ADF-4DED282B3F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210">
                <a:extLst>
                  <a:ext uri="{FF2B5EF4-FFF2-40B4-BE49-F238E27FC236}">
                    <a16:creationId xmlns:a16="http://schemas.microsoft.com/office/drawing/2014/main" id="{C6365183-4084-B62C-3190-C05225A1F4E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211">
                <a:extLst>
                  <a:ext uri="{FF2B5EF4-FFF2-40B4-BE49-F238E27FC236}">
                    <a16:creationId xmlns:a16="http://schemas.microsoft.com/office/drawing/2014/main" id="{18DEFC1F-82CB-1E28-C31F-2CD6BFD3D8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212">
                <a:extLst>
                  <a:ext uri="{FF2B5EF4-FFF2-40B4-BE49-F238E27FC236}">
                    <a16:creationId xmlns:a16="http://schemas.microsoft.com/office/drawing/2014/main" id="{B764D22C-C0E0-E4FC-63B9-04EACA472D2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0684E12E-671E-2AB4-3DF6-F7CC1F41A82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68C0F40B-6203-ADE4-7929-A2A2A8BB689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Oval 215">
                <a:extLst>
                  <a:ext uri="{FF2B5EF4-FFF2-40B4-BE49-F238E27FC236}">
                    <a16:creationId xmlns:a16="http://schemas.microsoft.com/office/drawing/2014/main" id="{ED9BA3C7-395C-C78E-C832-1BF3B111DBC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D6C80161-084F-E2C2-B0A6-7C7C1C9F92B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48" name="Group 247">
            <a:extLst>
              <a:ext uri="{FF2B5EF4-FFF2-40B4-BE49-F238E27FC236}">
                <a16:creationId xmlns:a16="http://schemas.microsoft.com/office/drawing/2014/main" id="{09970AC2-79DE-7917-5D5C-7432BB83694B}"/>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49" name="Group 248">
              <a:extLst>
                <a:ext uri="{FF2B5EF4-FFF2-40B4-BE49-F238E27FC236}">
                  <a16:creationId xmlns:a16="http://schemas.microsoft.com/office/drawing/2014/main" id="{F7FD57D1-A7B0-9171-53CC-5E45F499A898}"/>
                </a:ext>
              </a:extLst>
            </p:cNvPr>
            <p:cNvGrpSpPr/>
            <p:nvPr/>
          </p:nvGrpSpPr>
          <p:grpSpPr>
            <a:xfrm rot="5400000">
              <a:off x="1055270" y="-538236"/>
              <a:ext cx="86591" cy="1729654"/>
              <a:chOff x="85292" y="59892"/>
              <a:chExt cx="86591" cy="1729654"/>
            </a:xfrm>
            <a:grpFill/>
          </p:grpSpPr>
          <p:sp>
            <p:nvSpPr>
              <p:cNvPr id="283" name="Oval 282">
                <a:extLst>
                  <a:ext uri="{FF2B5EF4-FFF2-40B4-BE49-F238E27FC236}">
                    <a16:creationId xmlns:a16="http://schemas.microsoft.com/office/drawing/2014/main" id="{7CCE8AEE-F7B4-B403-63B1-0744033392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4" name="Oval 283">
                <a:extLst>
                  <a:ext uri="{FF2B5EF4-FFF2-40B4-BE49-F238E27FC236}">
                    <a16:creationId xmlns:a16="http://schemas.microsoft.com/office/drawing/2014/main" id="{2E2DD31B-E1F6-BE6E-660A-97F4ABF118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Oval 284">
                <a:extLst>
                  <a:ext uri="{FF2B5EF4-FFF2-40B4-BE49-F238E27FC236}">
                    <a16:creationId xmlns:a16="http://schemas.microsoft.com/office/drawing/2014/main" id="{DB9E9229-E733-8B1F-EBC7-2FBA8DAE487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6" name="Oval 285">
                <a:extLst>
                  <a:ext uri="{FF2B5EF4-FFF2-40B4-BE49-F238E27FC236}">
                    <a16:creationId xmlns:a16="http://schemas.microsoft.com/office/drawing/2014/main" id="{2BB68554-A59F-C27C-FEBB-ABCB238D7B3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Oval 286">
                <a:extLst>
                  <a:ext uri="{FF2B5EF4-FFF2-40B4-BE49-F238E27FC236}">
                    <a16:creationId xmlns:a16="http://schemas.microsoft.com/office/drawing/2014/main" id="{0FB23996-47B3-4965-438F-BF57EE9CBAB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Oval 287">
                <a:extLst>
                  <a:ext uri="{FF2B5EF4-FFF2-40B4-BE49-F238E27FC236}">
                    <a16:creationId xmlns:a16="http://schemas.microsoft.com/office/drawing/2014/main" id="{60C3E860-BD99-739D-F643-077ADB1A00F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3DBB848A-95BB-EA23-547D-7787D04F903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Oval 289">
                <a:extLst>
                  <a:ext uri="{FF2B5EF4-FFF2-40B4-BE49-F238E27FC236}">
                    <a16:creationId xmlns:a16="http://schemas.microsoft.com/office/drawing/2014/main" id="{1DC11072-1971-59E9-43E4-533D6681E9F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Oval 290">
                <a:extLst>
                  <a:ext uri="{FF2B5EF4-FFF2-40B4-BE49-F238E27FC236}">
                    <a16:creationId xmlns:a16="http://schemas.microsoft.com/office/drawing/2014/main" id="{08603325-CCB4-BE7D-CBA7-7DD148E10B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Oval 291">
                <a:extLst>
                  <a:ext uri="{FF2B5EF4-FFF2-40B4-BE49-F238E27FC236}">
                    <a16:creationId xmlns:a16="http://schemas.microsoft.com/office/drawing/2014/main" id="{1DDFBCF0-7F05-68C0-8F69-862040C4686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0" name="Group 249">
              <a:extLst>
                <a:ext uri="{FF2B5EF4-FFF2-40B4-BE49-F238E27FC236}">
                  <a16:creationId xmlns:a16="http://schemas.microsoft.com/office/drawing/2014/main" id="{93BF1CB1-5348-8ED6-5A25-752D49BDA2D4}"/>
                </a:ext>
              </a:extLst>
            </p:cNvPr>
            <p:cNvGrpSpPr/>
            <p:nvPr/>
          </p:nvGrpSpPr>
          <p:grpSpPr>
            <a:xfrm rot="5400000">
              <a:off x="1055270" y="-284344"/>
              <a:ext cx="86591" cy="1729654"/>
              <a:chOff x="85292" y="59892"/>
              <a:chExt cx="86591" cy="1729654"/>
            </a:xfrm>
            <a:grpFill/>
          </p:grpSpPr>
          <p:sp>
            <p:nvSpPr>
              <p:cNvPr id="273" name="Oval 272">
                <a:extLst>
                  <a:ext uri="{FF2B5EF4-FFF2-40B4-BE49-F238E27FC236}">
                    <a16:creationId xmlns:a16="http://schemas.microsoft.com/office/drawing/2014/main" id="{74509567-2D7A-4A19-4698-D78E91346E3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4" name="Oval 273">
                <a:extLst>
                  <a:ext uri="{FF2B5EF4-FFF2-40B4-BE49-F238E27FC236}">
                    <a16:creationId xmlns:a16="http://schemas.microsoft.com/office/drawing/2014/main" id="{209CB8EF-D93A-36EA-6AB5-D6C02DF0F07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5" name="Oval 274">
                <a:extLst>
                  <a:ext uri="{FF2B5EF4-FFF2-40B4-BE49-F238E27FC236}">
                    <a16:creationId xmlns:a16="http://schemas.microsoft.com/office/drawing/2014/main" id="{6EDC56D1-412A-6AB3-B118-0D7EDAB58A7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6" name="Oval 275">
                <a:extLst>
                  <a:ext uri="{FF2B5EF4-FFF2-40B4-BE49-F238E27FC236}">
                    <a16:creationId xmlns:a16="http://schemas.microsoft.com/office/drawing/2014/main" id="{823B8FD9-9EF1-3372-C3DA-68E37826234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Oval 276">
                <a:extLst>
                  <a:ext uri="{FF2B5EF4-FFF2-40B4-BE49-F238E27FC236}">
                    <a16:creationId xmlns:a16="http://schemas.microsoft.com/office/drawing/2014/main" id="{DE037A3A-898A-0288-04CA-BD693B0D89B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Oval 277">
                <a:extLst>
                  <a:ext uri="{FF2B5EF4-FFF2-40B4-BE49-F238E27FC236}">
                    <a16:creationId xmlns:a16="http://schemas.microsoft.com/office/drawing/2014/main" id="{AA4E9F43-5E8D-F1F2-ACDF-5CBE30B7F6D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Oval 278">
                <a:extLst>
                  <a:ext uri="{FF2B5EF4-FFF2-40B4-BE49-F238E27FC236}">
                    <a16:creationId xmlns:a16="http://schemas.microsoft.com/office/drawing/2014/main" id="{84C4226F-CD55-2BB4-78B9-11EBB4B69C1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Oval 279">
                <a:extLst>
                  <a:ext uri="{FF2B5EF4-FFF2-40B4-BE49-F238E27FC236}">
                    <a16:creationId xmlns:a16="http://schemas.microsoft.com/office/drawing/2014/main" id="{1CDD4EC3-B1E4-8543-23C3-1E3B3AC925E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1" name="Oval 280">
                <a:extLst>
                  <a:ext uri="{FF2B5EF4-FFF2-40B4-BE49-F238E27FC236}">
                    <a16:creationId xmlns:a16="http://schemas.microsoft.com/office/drawing/2014/main" id="{18A9B7F7-5B9A-9FFB-C463-D9A2E4A567F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2" name="Oval 281">
                <a:extLst>
                  <a:ext uri="{FF2B5EF4-FFF2-40B4-BE49-F238E27FC236}">
                    <a16:creationId xmlns:a16="http://schemas.microsoft.com/office/drawing/2014/main" id="{26B72CF5-F238-D39A-D57F-2974604B2BF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1" name="Group 250">
              <a:extLst>
                <a:ext uri="{FF2B5EF4-FFF2-40B4-BE49-F238E27FC236}">
                  <a16:creationId xmlns:a16="http://schemas.microsoft.com/office/drawing/2014/main" id="{39D0C627-F2B8-C234-B9E7-91F20CDBA90D}"/>
                </a:ext>
              </a:extLst>
            </p:cNvPr>
            <p:cNvGrpSpPr/>
            <p:nvPr/>
          </p:nvGrpSpPr>
          <p:grpSpPr>
            <a:xfrm rot="5400000">
              <a:off x="1055270" y="-30452"/>
              <a:ext cx="86591" cy="1729654"/>
              <a:chOff x="85292" y="59892"/>
              <a:chExt cx="86591" cy="1729654"/>
            </a:xfrm>
            <a:grpFill/>
          </p:grpSpPr>
          <p:sp>
            <p:nvSpPr>
              <p:cNvPr id="263" name="Oval 262">
                <a:extLst>
                  <a:ext uri="{FF2B5EF4-FFF2-40B4-BE49-F238E27FC236}">
                    <a16:creationId xmlns:a16="http://schemas.microsoft.com/office/drawing/2014/main" id="{57B623F1-740A-F6AB-CDC1-A390AD8F99C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4" name="Oval 263">
                <a:extLst>
                  <a:ext uri="{FF2B5EF4-FFF2-40B4-BE49-F238E27FC236}">
                    <a16:creationId xmlns:a16="http://schemas.microsoft.com/office/drawing/2014/main" id="{F53E3C5E-B83D-1736-64F8-C237A5CE85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CA42BE79-A757-1419-5AC6-581DCA2EB6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7865A315-EB28-076F-9C57-3711B1320CB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AB9E695B-2115-D6D5-6125-BD2E873761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E25CACC3-A15F-C690-AD67-56873A7AF0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67B510D9-15CB-B19F-7E43-7B42D887AE5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4AB5331C-554B-C559-8303-3C3946D875C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55B44A38-99F6-CF61-ACB2-36050AD0B72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3B372CC6-F6F9-173C-F307-D1F1407305F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2" name="Group 251">
              <a:extLst>
                <a:ext uri="{FF2B5EF4-FFF2-40B4-BE49-F238E27FC236}">
                  <a16:creationId xmlns:a16="http://schemas.microsoft.com/office/drawing/2014/main" id="{A0923DDA-C3AA-78E1-612F-A9744A466620}"/>
                </a:ext>
              </a:extLst>
            </p:cNvPr>
            <p:cNvGrpSpPr/>
            <p:nvPr/>
          </p:nvGrpSpPr>
          <p:grpSpPr>
            <a:xfrm rot="5400000">
              <a:off x="1055270" y="223441"/>
              <a:ext cx="86591" cy="1729654"/>
              <a:chOff x="85292" y="59892"/>
              <a:chExt cx="86591" cy="1729654"/>
            </a:xfrm>
            <a:grpFill/>
          </p:grpSpPr>
          <p:sp>
            <p:nvSpPr>
              <p:cNvPr id="253" name="Oval 252">
                <a:extLst>
                  <a:ext uri="{FF2B5EF4-FFF2-40B4-BE49-F238E27FC236}">
                    <a16:creationId xmlns:a16="http://schemas.microsoft.com/office/drawing/2014/main" id="{4CA6BC67-CCAE-CF73-6A1D-5EBC3998E18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Oval 253">
                <a:extLst>
                  <a:ext uri="{FF2B5EF4-FFF2-40B4-BE49-F238E27FC236}">
                    <a16:creationId xmlns:a16="http://schemas.microsoft.com/office/drawing/2014/main" id="{D8E9E6BE-3E88-460A-EDA2-171ADA8D1B8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Oval 254">
                <a:extLst>
                  <a:ext uri="{FF2B5EF4-FFF2-40B4-BE49-F238E27FC236}">
                    <a16:creationId xmlns:a16="http://schemas.microsoft.com/office/drawing/2014/main" id="{2D937D93-C194-B113-ADFD-2609B4BBF37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Oval 255">
                <a:extLst>
                  <a:ext uri="{FF2B5EF4-FFF2-40B4-BE49-F238E27FC236}">
                    <a16:creationId xmlns:a16="http://schemas.microsoft.com/office/drawing/2014/main" id="{44F8E20B-C2B9-E55D-68D7-53C9D95BF3A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Oval 256">
                <a:extLst>
                  <a:ext uri="{FF2B5EF4-FFF2-40B4-BE49-F238E27FC236}">
                    <a16:creationId xmlns:a16="http://schemas.microsoft.com/office/drawing/2014/main" id="{3AD536B1-74E7-0E15-CF12-06117343943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Oval 257">
                <a:extLst>
                  <a:ext uri="{FF2B5EF4-FFF2-40B4-BE49-F238E27FC236}">
                    <a16:creationId xmlns:a16="http://schemas.microsoft.com/office/drawing/2014/main" id="{CD4F979F-0CBD-DEE2-3590-FBBB401DA2C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9" name="Oval 258">
                <a:extLst>
                  <a:ext uri="{FF2B5EF4-FFF2-40B4-BE49-F238E27FC236}">
                    <a16:creationId xmlns:a16="http://schemas.microsoft.com/office/drawing/2014/main" id="{0FDB0A86-22ED-51AD-5AD5-897F0518761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Oval 259">
                <a:extLst>
                  <a:ext uri="{FF2B5EF4-FFF2-40B4-BE49-F238E27FC236}">
                    <a16:creationId xmlns:a16="http://schemas.microsoft.com/office/drawing/2014/main" id="{6849A438-636D-73E1-192A-6C91CD1EEF4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Oval 260">
                <a:extLst>
                  <a:ext uri="{FF2B5EF4-FFF2-40B4-BE49-F238E27FC236}">
                    <a16:creationId xmlns:a16="http://schemas.microsoft.com/office/drawing/2014/main" id="{94283D0E-A781-AC82-50BF-241A9078E8A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Oval 261">
                <a:extLst>
                  <a:ext uri="{FF2B5EF4-FFF2-40B4-BE49-F238E27FC236}">
                    <a16:creationId xmlns:a16="http://schemas.microsoft.com/office/drawing/2014/main" id="{9BDFAF94-D500-E7FC-8D38-FF8A8AE6DE2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38" name="Group 337">
            <a:extLst>
              <a:ext uri="{FF2B5EF4-FFF2-40B4-BE49-F238E27FC236}">
                <a16:creationId xmlns:a16="http://schemas.microsoft.com/office/drawing/2014/main" id="{D012BB2E-FD90-F537-188A-40F4616DCA8D}"/>
              </a:ext>
            </a:extLst>
          </p:cNvPr>
          <p:cNvGrpSpPr/>
          <p:nvPr/>
        </p:nvGrpSpPr>
        <p:grpSpPr>
          <a:xfrm rot="16200000" flipV="1">
            <a:off x="11073564" y="2825107"/>
            <a:ext cx="1729654" cy="848268"/>
            <a:chOff x="233739" y="283295"/>
            <a:chExt cx="1729654" cy="848268"/>
          </a:xfrm>
          <a:gradFill>
            <a:gsLst>
              <a:gs pos="0">
                <a:schemeClr val="accent5"/>
              </a:gs>
              <a:gs pos="100000">
                <a:schemeClr val="tx1">
                  <a:alpha val="0"/>
                </a:schemeClr>
              </a:gs>
            </a:gsLst>
            <a:lin ang="0" scaled="1"/>
          </a:gradFill>
        </p:grpSpPr>
        <p:grpSp>
          <p:nvGrpSpPr>
            <p:cNvPr id="339" name="Group 338">
              <a:extLst>
                <a:ext uri="{FF2B5EF4-FFF2-40B4-BE49-F238E27FC236}">
                  <a16:creationId xmlns:a16="http://schemas.microsoft.com/office/drawing/2014/main" id="{E8BF022C-306C-6DFC-BFA9-F8E8D99C1048}"/>
                </a:ext>
              </a:extLst>
            </p:cNvPr>
            <p:cNvGrpSpPr/>
            <p:nvPr/>
          </p:nvGrpSpPr>
          <p:grpSpPr>
            <a:xfrm rot="5400000">
              <a:off x="1055270" y="-538236"/>
              <a:ext cx="86591" cy="1729654"/>
              <a:chOff x="85292" y="59892"/>
              <a:chExt cx="86591" cy="1729654"/>
            </a:xfrm>
            <a:grpFill/>
          </p:grpSpPr>
          <p:sp>
            <p:nvSpPr>
              <p:cNvPr id="373" name="Oval 372">
                <a:extLst>
                  <a:ext uri="{FF2B5EF4-FFF2-40B4-BE49-F238E27FC236}">
                    <a16:creationId xmlns:a16="http://schemas.microsoft.com/office/drawing/2014/main" id="{39724D13-8BE4-03CD-A698-80199BF9586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Oval 373">
                <a:extLst>
                  <a:ext uri="{FF2B5EF4-FFF2-40B4-BE49-F238E27FC236}">
                    <a16:creationId xmlns:a16="http://schemas.microsoft.com/office/drawing/2014/main" id="{51185EBB-1C3E-4E52-65EA-6EDA1C7D63B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5" name="Oval 374">
                <a:extLst>
                  <a:ext uri="{FF2B5EF4-FFF2-40B4-BE49-F238E27FC236}">
                    <a16:creationId xmlns:a16="http://schemas.microsoft.com/office/drawing/2014/main" id="{A2AA95EF-F47D-B7BE-EF57-11056BE737B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6" name="Oval 375">
                <a:extLst>
                  <a:ext uri="{FF2B5EF4-FFF2-40B4-BE49-F238E27FC236}">
                    <a16:creationId xmlns:a16="http://schemas.microsoft.com/office/drawing/2014/main" id="{19206C34-7E15-B4C9-7BBB-B94E1542E8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7" name="Oval 376">
                <a:extLst>
                  <a:ext uri="{FF2B5EF4-FFF2-40B4-BE49-F238E27FC236}">
                    <a16:creationId xmlns:a16="http://schemas.microsoft.com/office/drawing/2014/main" id="{D8365D3C-4B05-CA2B-F291-AA244EBDD25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8" name="Oval 377">
                <a:extLst>
                  <a:ext uri="{FF2B5EF4-FFF2-40B4-BE49-F238E27FC236}">
                    <a16:creationId xmlns:a16="http://schemas.microsoft.com/office/drawing/2014/main" id="{EB6CBC53-F62C-3B1A-1D0F-D6A644CDB18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9" name="Oval 378">
                <a:extLst>
                  <a:ext uri="{FF2B5EF4-FFF2-40B4-BE49-F238E27FC236}">
                    <a16:creationId xmlns:a16="http://schemas.microsoft.com/office/drawing/2014/main" id="{B81FE97D-6DD3-FEFD-43D6-0F890190615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0" name="Oval 379">
                <a:extLst>
                  <a:ext uri="{FF2B5EF4-FFF2-40B4-BE49-F238E27FC236}">
                    <a16:creationId xmlns:a16="http://schemas.microsoft.com/office/drawing/2014/main" id="{829201BB-3987-DE59-8002-7287C026953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Oval 380">
                <a:extLst>
                  <a:ext uri="{FF2B5EF4-FFF2-40B4-BE49-F238E27FC236}">
                    <a16:creationId xmlns:a16="http://schemas.microsoft.com/office/drawing/2014/main" id="{02D544B5-6A6B-341A-610E-2E1FECD0FE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2" name="Oval 381">
                <a:extLst>
                  <a:ext uri="{FF2B5EF4-FFF2-40B4-BE49-F238E27FC236}">
                    <a16:creationId xmlns:a16="http://schemas.microsoft.com/office/drawing/2014/main" id="{1E51A31A-BDF5-273A-3871-B222C8492E4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0" name="Group 339">
              <a:extLst>
                <a:ext uri="{FF2B5EF4-FFF2-40B4-BE49-F238E27FC236}">
                  <a16:creationId xmlns:a16="http://schemas.microsoft.com/office/drawing/2014/main" id="{58BEB036-1285-ED85-1DF1-99106F3CC81D}"/>
                </a:ext>
              </a:extLst>
            </p:cNvPr>
            <p:cNvGrpSpPr/>
            <p:nvPr/>
          </p:nvGrpSpPr>
          <p:grpSpPr>
            <a:xfrm rot="5400000">
              <a:off x="1055270" y="-284344"/>
              <a:ext cx="86591" cy="1729654"/>
              <a:chOff x="85292" y="59892"/>
              <a:chExt cx="86591" cy="1729654"/>
            </a:xfrm>
            <a:grpFill/>
          </p:grpSpPr>
          <p:sp>
            <p:nvSpPr>
              <p:cNvPr id="363" name="Oval 362">
                <a:extLst>
                  <a:ext uri="{FF2B5EF4-FFF2-40B4-BE49-F238E27FC236}">
                    <a16:creationId xmlns:a16="http://schemas.microsoft.com/office/drawing/2014/main" id="{70C67CE8-6EAD-7BE6-E39F-5DE36F7C6DB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Oval 363">
                <a:extLst>
                  <a:ext uri="{FF2B5EF4-FFF2-40B4-BE49-F238E27FC236}">
                    <a16:creationId xmlns:a16="http://schemas.microsoft.com/office/drawing/2014/main" id="{CEE62E1E-BD67-3DC2-A7B4-88FC41B5F8A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5" name="Oval 364">
                <a:extLst>
                  <a:ext uri="{FF2B5EF4-FFF2-40B4-BE49-F238E27FC236}">
                    <a16:creationId xmlns:a16="http://schemas.microsoft.com/office/drawing/2014/main" id="{2C191300-3359-31ED-F01C-5231276C86B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Oval 365">
                <a:extLst>
                  <a:ext uri="{FF2B5EF4-FFF2-40B4-BE49-F238E27FC236}">
                    <a16:creationId xmlns:a16="http://schemas.microsoft.com/office/drawing/2014/main" id="{5A78A318-2A8A-8DEC-74ED-4708CEEB04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7" name="Oval 366">
                <a:extLst>
                  <a:ext uri="{FF2B5EF4-FFF2-40B4-BE49-F238E27FC236}">
                    <a16:creationId xmlns:a16="http://schemas.microsoft.com/office/drawing/2014/main" id="{6A397ACE-B974-8C84-64EB-EB6A2159FCE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8" name="Oval 367">
                <a:extLst>
                  <a:ext uri="{FF2B5EF4-FFF2-40B4-BE49-F238E27FC236}">
                    <a16:creationId xmlns:a16="http://schemas.microsoft.com/office/drawing/2014/main" id="{FCFA883F-5051-C080-282A-A72385F8B66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Oval 368">
                <a:extLst>
                  <a:ext uri="{FF2B5EF4-FFF2-40B4-BE49-F238E27FC236}">
                    <a16:creationId xmlns:a16="http://schemas.microsoft.com/office/drawing/2014/main" id="{B28E023A-B4ED-6408-3374-3AAF6707A10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Oval 369">
                <a:extLst>
                  <a:ext uri="{FF2B5EF4-FFF2-40B4-BE49-F238E27FC236}">
                    <a16:creationId xmlns:a16="http://schemas.microsoft.com/office/drawing/2014/main" id="{60A27781-DE25-25DF-C5F1-7475CBDFEFC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Oval 370">
                <a:extLst>
                  <a:ext uri="{FF2B5EF4-FFF2-40B4-BE49-F238E27FC236}">
                    <a16:creationId xmlns:a16="http://schemas.microsoft.com/office/drawing/2014/main" id="{2DC421E0-9891-D0E2-44E9-625757F472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2" name="Oval 371">
                <a:extLst>
                  <a:ext uri="{FF2B5EF4-FFF2-40B4-BE49-F238E27FC236}">
                    <a16:creationId xmlns:a16="http://schemas.microsoft.com/office/drawing/2014/main" id="{25D09E93-9818-B18E-336C-E5AEDB93048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1" name="Group 340">
              <a:extLst>
                <a:ext uri="{FF2B5EF4-FFF2-40B4-BE49-F238E27FC236}">
                  <a16:creationId xmlns:a16="http://schemas.microsoft.com/office/drawing/2014/main" id="{E13F3BD2-485E-2213-1BA0-F477FE0F3CE7}"/>
                </a:ext>
              </a:extLst>
            </p:cNvPr>
            <p:cNvGrpSpPr/>
            <p:nvPr/>
          </p:nvGrpSpPr>
          <p:grpSpPr>
            <a:xfrm rot="5400000">
              <a:off x="1055270" y="-30452"/>
              <a:ext cx="86591" cy="1729654"/>
              <a:chOff x="85292" y="59892"/>
              <a:chExt cx="86591" cy="1729654"/>
            </a:xfrm>
            <a:grpFill/>
          </p:grpSpPr>
          <p:sp>
            <p:nvSpPr>
              <p:cNvPr id="353" name="Oval 352">
                <a:extLst>
                  <a:ext uri="{FF2B5EF4-FFF2-40B4-BE49-F238E27FC236}">
                    <a16:creationId xmlns:a16="http://schemas.microsoft.com/office/drawing/2014/main" id="{D31FF2E4-9384-997D-801D-52843F7822A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Oval 353">
                <a:extLst>
                  <a:ext uri="{FF2B5EF4-FFF2-40B4-BE49-F238E27FC236}">
                    <a16:creationId xmlns:a16="http://schemas.microsoft.com/office/drawing/2014/main" id="{86ECDF55-56CB-4FA5-6C73-13F31DEC543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5" name="Oval 354">
                <a:extLst>
                  <a:ext uri="{FF2B5EF4-FFF2-40B4-BE49-F238E27FC236}">
                    <a16:creationId xmlns:a16="http://schemas.microsoft.com/office/drawing/2014/main" id="{E64F480C-B73D-33DD-9C34-EC4742E6F28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6" name="Oval 355">
                <a:extLst>
                  <a:ext uri="{FF2B5EF4-FFF2-40B4-BE49-F238E27FC236}">
                    <a16:creationId xmlns:a16="http://schemas.microsoft.com/office/drawing/2014/main" id="{6A4C47FE-0FE7-CFD1-02A4-5E826A5DA9E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7" name="Oval 356">
                <a:extLst>
                  <a:ext uri="{FF2B5EF4-FFF2-40B4-BE49-F238E27FC236}">
                    <a16:creationId xmlns:a16="http://schemas.microsoft.com/office/drawing/2014/main" id="{636FCFDC-6046-F35F-769E-BC0623F9643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8" name="Oval 357">
                <a:extLst>
                  <a:ext uri="{FF2B5EF4-FFF2-40B4-BE49-F238E27FC236}">
                    <a16:creationId xmlns:a16="http://schemas.microsoft.com/office/drawing/2014/main" id="{B0FCCDF9-4F92-7729-BFFC-7FC8E9356B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9" name="Oval 358">
                <a:extLst>
                  <a:ext uri="{FF2B5EF4-FFF2-40B4-BE49-F238E27FC236}">
                    <a16:creationId xmlns:a16="http://schemas.microsoft.com/office/drawing/2014/main" id="{A94E72BC-C2AB-0225-D653-6B200B5527C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0" name="Oval 359">
                <a:extLst>
                  <a:ext uri="{FF2B5EF4-FFF2-40B4-BE49-F238E27FC236}">
                    <a16:creationId xmlns:a16="http://schemas.microsoft.com/office/drawing/2014/main" id="{C2B030A4-7142-BD08-ECE4-CB48842E2D0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1" name="Oval 360">
                <a:extLst>
                  <a:ext uri="{FF2B5EF4-FFF2-40B4-BE49-F238E27FC236}">
                    <a16:creationId xmlns:a16="http://schemas.microsoft.com/office/drawing/2014/main" id="{DC989251-5E2D-A9AF-4F1D-5509DA12556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Oval 361">
                <a:extLst>
                  <a:ext uri="{FF2B5EF4-FFF2-40B4-BE49-F238E27FC236}">
                    <a16:creationId xmlns:a16="http://schemas.microsoft.com/office/drawing/2014/main" id="{35C06F05-81F8-F551-C5A8-36662230825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2" name="Group 341">
              <a:extLst>
                <a:ext uri="{FF2B5EF4-FFF2-40B4-BE49-F238E27FC236}">
                  <a16:creationId xmlns:a16="http://schemas.microsoft.com/office/drawing/2014/main" id="{D8152DE9-DFDF-60B7-5D6A-630828AFF547}"/>
                </a:ext>
              </a:extLst>
            </p:cNvPr>
            <p:cNvGrpSpPr/>
            <p:nvPr/>
          </p:nvGrpSpPr>
          <p:grpSpPr>
            <a:xfrm rot="5400000">
              <a:off x="1055270" y="223441"/>
              <a:ext cx="86591" cy="1729654"/>
              <a:chOff x="85292" y="59892"/>
              <a:chExt cx="86591" cy="1729654"/>
            </a:xfrm>
            <a:grpFill/>
          </p:grpSpPr>
          <p:sp>
            <p:nvSpPr>
              <p:cNvPr id="343" name="Oval 342">
                <a:extLst>
                  <a:ext uri="{FF2B5EF4-FFF2-40B4-BE49-F238E27FC236}">
                    <a16:creationId xmlns:a16="http://schemas.microsoft.com/office/drawing/2014/main" id="{52255C33-EB90-7FB7-7F5A-9A2FA31D8FB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4" name="Oval 343">
                <a:extLst>
                  <a:ext uri="{FF2B5EF4-FFF2-40B4-BE49-F238E27FC236}">
                    <a16:creationId xmlns:a16="http://schemas.microsoft.com/office/drawing/2014/main" id="{B286ECE1-1109-BCA1-5D87-3854E6CB9AE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5" name="Oval 344">
                <a:extLst>
                  <a:ext uri="{FF2B5EF4-FFF2-40B4-BE49-F238E27FC236}">
                    <a16:creationId xmlns:a16="http://schemas.microsoft.com/office/drawing/2014/main" id="{4838C671-4D2F-B44B-ECF4-F6886C15442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6" name="Oval 345">
                <a:extLst>
                  <a:ext uri="{FF2B5EF4-FFF2-40B4-BE49-F238E27FC236}">
                    <a16:creationId xmlns:a16="http://schemas.microsoft.com/office/drawing/2014/main" id="{7D0E9465-D013-5225-2B2D-E1E8573E2F9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7" name="Oval 346">
                <a:extLst>
                  <a:ext uri="{FF2B5EF4-FFF2-40B4-BE49-F238E27FC236}">
                    <a16:creationId xmlns:a16="http://schemas.microsoft.com/office/drawing/2014/main" id="{E420603D-0CF7-360D-71DC-7BB3FCB1CF1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Oval 347">
                <a:extLst>
                  <a:ext uri="{FF2B5EF4-FFF2-40B4-BE49-F238E27FC236}">
                    <a16:creationId xmlns:a16="http://schemas.microsoft.com/office/drawing/2014/main" id="{BCB9DEE3-C1F2-F8FA-8676-D4A01A061DA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Oval 348">
                <a:extLst>
                  <a:ext uri="{FF2B5EF4-FFF2-40B4-BE49-F238E27FC236}">
                    <a16:creationId xmlns:a16="http://schemas.microsoft.com/office/drawing/2014/main" id="{4727FF56-59EE-C320-AE04-8D87912BF0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Oval 349">
                <a:extLst>
                  <a:ext uri="{FF2B5EF4-FFF2-40B4-BE49-F238E27FC236}">
                    <a16:creationId xmlns:a16="http://schemas.microsoft.com/office/drawing/2014/main" id="{742849B8-394C-5ACD-1755-937F5F5A02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Oval 350">
                <a:extLst>
                  <a:ext uri="{FF2B5EF4-FFF2-40B4-BE49-F238E27FC236}">
                    <a16:creationId xmlns:a16="http://schemas.microsoft.com/office/drawing/2014/main" id="{637A7B01-FF96-CB9E-67DC-831AD9D14B2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2" name="Oval 351">
                <a:extLst>
                  <a:ext uri="{FF2B5EF4-FFF2-40B4-BE49-F238E27FC236}">
                    <a16:creationId xmlns:a16="http://schemas.microsoft.com/office/drawing/2014/main" id="{A0E89D86-132C-BE31-A43B-4B4A0C6D826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34" name="Group 433">
            <a:extLst>
              <a:ext uri="{FF2B5EF4-FFF2-40B4-BE49-F238E27FC236}">
                <a16:creationId xmlns:a16="http://schemas.microsoft.com/office/drawing/2014/main" id="{1944BE4E-6BC5-B1DA-0989-52CCD6D193D1}"/>
              </a:ext>
            </a:extLst>
          </p:cNvPr>
          <p:cNvGrpSpPr/>
          <p:nvPr/>
        </p:nvGrpSpPr>
        <p:grpSpPr>
          <a:xfrm rot="5400000" flipV="1">
            <a:off x="-427525" y="496882"/>
            <a:ext cx="1729654" cy="848268"/>
            <a:chOff x="233739" y="283295"/>
            <a:chExt cx="1729654" cy="848268"/>
          </a:xfrm>
          <a:gradFill>
            <a:gsLst>
              <a:gs pos="0">
                <a:schemeClr val="accent5"/>
              </a:gs>
              <a:gs pos="100000">
                <a:schemeClr val="tx1">
                  <a:alpha val="0"/>
                </a:schemeClr>
              </a:gs>
            </a:gsLst>
            <a:lin ang="0" scaled="1"/>
          </a:gradFill>
        </p:grpSpPr>
        <p:grpSp>
          <p:nvGrpSpPr>
            <p:cNvPr id="435" name="Group 434">
              <a:extLst>
                <a:ext uri="{FF2B5EF4-FFF2-40B4-BE49-F238E27FC236}">
                  <a16:creationId xmlns:a16="http://schemas.microsoft.com/office/drawing/2014/main" id="{51C900DC-90F3-FC01-3CF7-841697DFB55F}"/>
                </a:ext>
              </a:extLst>
            </p:cNvPr>
            <p:cNvGrpSpPr/>
            <p:nvPr/>
          </p:nvGrpSpPr>
          <p:grpSpPr>
            <a:xfrm rot="5400000">
              <a:off x="1055270" y="-538236"/>
              <a:ext cx="86591" cy="1729654"/>
              <a:chOff x="85292" y="59892"/>
              <a:chExt cx="86591" cy="1729654"/>
            </a:xfrm>
            <a:grpFill/>
          </p:grpSpPr>
          <p:sp>
            <p:nvSpPr>
              <p:cNvPr id="469" name="Oval 468">
                <a:extLst>
                  <a:ext uri="{FF2B5EF4-FFF2-40B4-BE49-F238E27FC236}">
                    <a16:creationId xmlns:a16="http://schemas.microsoft.com/office/drawing/2014/main" id="{2E074A91-DD8E-3CAC-ADB3-0C392229248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Oval 469">
                <a:extLst>
                  <a:ext uri="{FF2B5EF4-FFF2-40B4-BE49-F238E27FC236}">
                    <a16:creationId xmlns:a16="http://schemas.microsoft.com/office/drawing/2014/main" id="{2B1E2A5B-CB99-2936-AE56-1F2B501BC69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1" name="Oval 470">
                <a:extLst>
                  <a:ext uri="{FF2B5EF4-FFF2-40B4-BE49-F238E27FC236}">
                    <a16:creationId xmlns:a16="http://schemas.microsoft.com/office/drawing/2014/main" id="{B9131088-EAB8-73E3-6B46-B8E488F6D46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2" name="Oval 471">
                <a:extLst>
                  <a:ext uri="{FF2B5EF4-FFF2-40B4-BE49-F238E27FC236}">
                    <a16:creationId xmlns:a16="http://schemas.microsoft.com/office/drawing/2014/main" id="{C17D046E-2078-F6ED-0047-D79CD58E4E7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3" name="Oval 472">
                <a:extLst>
                  <a:ext uri="{FF2B5EF4-FFF2-40B4-BE49-F238E27FC236}">
                    <a16:creationId xmlns:a16="http://schemas.microsoft.com/office/drawing/2014/main" id="{00BBD1D8-B107-7DE2-48C0-062230E7A8E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4" name="Oval 473">
                <a:extLst>
                  <a:ext uri="{FF2B5EF4-FFF2-40B4-BE49-F238E27FC236}">
                    <a16:creationId xmlns:a16="http://schemas.microsoft.com/office/drawing/2014/main" id="{7A6F8283-E878-830F-7CB8-13F469BEF9D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5" name="Oval 474">
                <a:extLst>
                  <a:ext uri="{FF2B5EF4-FFF2-40B4-BE49-F238E27FC236}">
                    <a16:creationId xmlns:a16="http://schemas.microsoft.com/office/drawing/2014/main" id="{B8DA7DD0-AFAC-2035-5E2A-18E174EACBC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6" name="Oval 475">
                <a:extLst>
                  <a:ext uri="{FF2B5EF4-FFF2-40B4-BE49-F238E27FC236}">
                    <a16:creationId xmlns:a16="http://schemas.microsoft.com/office/drawing/2014/main" id="{DD4F6B40-5365-3EBE-BB5B-AAE2831B320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7" name="Oval 476">
                <a:extLst>
                  <a:ext uri="{FF2B5EF4-FFF2-40B4-BE49-F238E27FC236}">
                    <a16:creationId xmlns:a16="http://schemas.microsoft.com/office/drawing/2014/main" id="{60312F5A-968C-3597-2A1E-1180CC01F84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8" name="Oval 477">
                <a:extLst>
                  <a:ext uri="{FF2B5EF4-FFF2-40B4-BE49-F238E27FC236}">
                    <a16:creationId xmlns:a16="http://schemas.microsoft.com/office/drawing/2014/main" id="{5BA7EBC7-C3C8-C21F-7870-5DA41D8768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6" name="Group 435">
              <a:extLst>
                <a:ext uri="{FF2B5EF4-FFF2-40B4-BE49-F238E27FC236}">
                  <a16:creationId xmlns:a16="http://schemas.microsoft.com/office/drawing/2014/main" id="{CB1D1E4E-D664-4772-FCFF-E0C20F9C22AE}"/>
                </a:ext>
              </a:extLst>
            </p:cNvPr>
            <p:cNvGrpSpPr/>
            <p:nvPr/>
          </p:nvGrpSpPr>
          <p:grpSpPr>
            <a:xfrm rot="5400000">
              <a:off x="1055270" y="-284344"/>
              <a:ext cx="86591" cy="1729654"/>
              <a:chOff x="85292" y="59892"/>
              <a:chExt cx="86591" cy="1729654"/>
            </a:xfrm>
            <a:grpFill/>
          </p:grpSpPr>
          <p:sp>
            <p:nvSpPr>
              <p:cNvPr id="459" name="Oval 458">
                <a:extLst>
                  <a:ext uri="{FF2B5EF4-FFF2-40B4-BE49-F238E27FC236}">
                    <a16:creationId xmlns:a16="http://schemas.microsoft.com/office/drawing/2014/main" id="{6EF2AF39-387C-8C20-C418-2AEF139A575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0" name="Oval 459">
                <a:extLst>
                  <a:ext uri="{FF2B5EF4-FFF2-40B4-BE49-F238E27FC236}">
                    <a16:creationId xmlns:a16="http://schemas.microsoft.com/office/drawing/2014/main" id="{AE812FFE-9B2B-433C-E38B-CA8D37B716D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1" name="Oval 460">
                <a:extLst>
                  <a:ext uri="{FF2B5EF4-FFF2-40B4-BE49-F238E27FC236}">
                    <a16:creationId xmlns:a16="http://schemas.microsoft.com/office/drawing/2014/main" id="{7DE5AEE8-996F-D036-34D5-BDF7D3B6F0A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2" name="Oval 461">
                <a:extLst>
                  <a:ext uri="{FF2B5EF4-FFF2-40B4-BE49-F238E27FC236}">
                    <a16:creationId xmlns:a16="http://schemas.microsoft.com/office/drawing/2014/main" id="{05A3CE36-8CF8-879C-61E0-CEEADA136C1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3" name="Oval 462">
                <a:extLst>
                  <a:ext uri="{FF2B5EF4-FFF2-40B4-BE49-F238E27FC236}">
                    <a16:creationId xmlns:a16="http://schemas.microsoft.com/office/drawing/2014/main" id="{D1E4B340-9CE4-B3F2-17D6-FCE52E9B2E3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4" name="Oval 463">
                <a:extLst>
                  <a:ext uri="{FF2B5EF4-FFF2-40B4-BE49-F238E27FC236}">
                    <a16:creationId xmlns:a16="http://schemas.microsoft.com/office/drawing/2014/main" id="{9E7E1D31-82B9-14B2-EFAC-73D0935454B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5" name="Oval 464">
                <a:extLst>
                  <a:ext uri="{FF2B5EF4-FFF2-40B4-BE49-F238E27FC236}">
                    <a16:creationId xmlns:a16="http://schemas.microsoft.com/office/drawing/2014/main" id="{12DEEAD1-46BD-FB18-1D6F-9D9ECA1A74C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6" name="Oval 465">
                <a:extLst>
                  <a:ext uri="{FF2B5EF4-FFF2-40B4-BE49-F238E27FC236}">
                    <a16:creationId xmlns:a16="http://schemas.microsoft.com/office/drawing/2014/main" id="{28681601-F082-28E1-7AF0-58F1ACF9D63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7" name="Oval 466">
                <a:extLst>
                  <a:ext uri="{FF2B5EF4-FFF2-40B4-BE49-F238E27FC236}">
                    <a16:creationId xmlns:a16="http://schemas.microsoft.com/office/drawing/2014/main" id="{149FCE3A-5376-C429-E3CA-6C0B836A1B0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Oval 467">
                <a:extLst>
                  <a:ext uri="{FF2B5EF4-FFF2-40B4-BE49-F238E27FC236}">
                    <a16:creationId xmlns:a16="http://schemas.microsoft.com/office/drawing/2014/main" id="{4B49CB1B-DFDB-A9BD-FA09-7FB93EC5D07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7" name="Group 436">
              <a:extLst>
                <a:ext uri="{FF2B5EF4-FFF2-40B4-BE49-F238E27FC236}">
                  <a16:creationId xmlns:a16="http://schemas.microsoft.com/office/drawing/2014/main" id="{B06957E4-5DA6-28BF-4342-86E6B0B9136E}"/>
                </a:ext>
              </a:extLst>
            </p:cNvPr>
            <p:cNvGrpSpPr/>
            <p:nvPr/>
          </p:nvGrpSpPr>
          <p:grpSpPr>
            <a:xfrm rot="5400000">
              <a:off x="1055270" y="-30452"/>
              <a:ext cx="86591" cy="1729654"/>
              <a:chOff x="85292" y="59892"/>
              <a:chExt cx="86591" cy="1729654"/>
            </a:xfrm>
            <a:grpFill/>
          </p:grpSpPr>
          <p:sp>
            <p:nvSpPr>
              <p:cNvPr id="449" name="Oval 448">
                <a:extLst>
                  <a:ext uri="{FF2B5EF4-FFF2-40B4-BE49-F238E27FC236}">
                    <a16:creationId xmlns:a16="http://schemas.microsoft.com/office/drawing/2014/main" id="{C09AFBE1-E857-4C63-8B18-124A618FCA4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0" name="Oval 449">
                <a:extLst>
                  <a:ext uri="{FF2B5EF4-FFF2-40B4-BE49-F238E27FC236}">
                    <a16:creationId xmlns:a16="http://schemas.microsoft.com/office/drawing/2014/main" id="{0C42AC2C-24C1-4D6D-A5C0-4E99CE9740E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1" name="Oval 450">
                <a:extLst>
                  <a:ext uri="{FF2B5EF4-FFF2-40B4-BE49-F238E27FC236}">
                    <a16:creationId xmlns:a16="http://schemas.microsoft.com/office/drawing/2014/main" id="{5526E1EB-2573-9FDA-E29E-AB6C047995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2" name="Oval 451">
                <a:extLst>
                  <a:ext uri="{FF2B5EF4-FFF2-40B4-BE49-F238E27FC236}">
                    <a16:creationId xmlns:a16="http://schemas.microsoft.com/office/drawing/2014/main" id="{F808595E-C218-3E06-E305-DF4EC323EF5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3" name="Oval 452">
                <a:extLst>
                  <a:ext uri="{FF2B5EF4-FFF2-40B4-BE49-F238E27FC236}">
                    <a16:creationId xmlns:a16="http://schemas.microsoft.com/office/drawing/2014/main" id="{515E78F4-A260-E827-5DBB-14B91963232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4" name="Oval 453">
                <a:extLst>
                  <a:ext uri="{FF2B5EF4-FFF2-40B4-BE49-F238E27FC236}">
                    <a16:creationId xmlns:a16="http://schemas.microsoft.com/office/drawing/2014/main" id="{D4D241B6-E3F6-2F47-F3F9-A6C088FD6EE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5" name="Oval 454">
                <a:extLst>
                  <a:ext uri="{FF2B5EF4-FFF2-40B4-BE49-F238E27FC236}">
                    <a16:creationId xmlns:a16="http://schemas.microsoft.com/office/drawing/2014/main" id="{B309F0E5-6A9B-3A3D-FAE5-2DB71A4F052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6" name="Oval 455">
                <a:extLst>
                  <a:ext uri="{FF2B5EF4-FFF2-40B4-BE49-F238E27FC236}">
                    <a16:creationId xmlns:a16="http://schemas.microsoft.com/office/drawing/2014/main" id="{1A43F949-74C6-4716-5757-6D1FD9B3B44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7" name="Oval 456">
                <a:extLst>
                  <a:ext uri="{FF2B5EF4-FFF2-40B4-BE49-F238E27FC236}">
                    <a16:creationId xmlns:a16="http://schemas.microsoft.com/office/drawing/2014/main" id="{25C0BC25-4080-6F8F-B65D-BCA51E2FD79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8" name="Oval 457">
                <a:extLst>
                  <a:ext uri="{FF2B5EF4-FFF2-40B4-BE49-F238E27FC236}">
                    <a16:creationId xmlns:a16="http://schemas.microsoft.com/office/drawing/2014/main" id="{48E47FE4-4C4A-C64E-3C8D-8DF8A2EA1C2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8" name="Group 437">
              <a:extLst>
                <a:ext uri="{FF2B5EF4-FFF2-40B4-BE49-F238E27FC236}">
                  <a16:creationId xmlns:a16="http://schemas.microsoft.com/office/drawing/2014/main" id="{208471F3-8B7F-633F-0CF4-A62633CB16C7}"/>
                </a:ext>
              </a:extLst>
            </p:cNvPr>
            <p:cNvGrpSpPr/>
            <p:nvPr/>
          </p:nvGrpSpPr>
          <p:grpSpPr>
            <a:xfrm rot="5400000">
              <a:off x="1055270" y="223441"/>
              <a:ext cx="86591" cy="1729654"/>
              <a:chOff x="85292" y="59892"/>
              <a:chExt cx="86591" cy="1729654"/>
            </a:xfrm>
            <a:grpFill/>
          </p:grpSpPr>
          <p:sp>
            <p:nvSpPr>
              <p:cNvPr id="439" name="Oval 438">
                <a:extLst>
                  <a:ext uri="{FF2B5EF4-FFF2-40B4-BE49-F238E27FC236}">
                    <a16:creationId xmlns:a16="http://schemas.microsoft.com/office/drawing/2014/main" id="{563FA1C5-4A1C-EE5C-81AA-181EFE02BE7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0" name="Oval 439">
                <a:extLst>
                  <a:ext uri="{FF2B5EF4-FFF2-40B4-BE49-F238E27FC236}">
                    <a16:creationId xmlns:a16="http://schemas.microsoft.com/office/drawing/2014/main" id="{4E03E6E3-BB0F-337F-A9B8-CE2253E54ED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1" name="Oval 440">
                <a:extLst>
                  <a:ext uri="{FF2B5EF4-FFF2-40B4-BE49-F238E27FC236}">
                    <a16:creationId xmlns:a16="http://schemas.microsoft.com/office/drawing/2014/main" id="{7EA899AC-EF5C-8035-4340-BD46FAA4FC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2" name="Oval 441">
                <a:extLst>
                  <a:ext uri="{FF2B5EF4-FFF2-40B4-BE49-F238E27FC236}">
                    <a16:creationId xmlns:a16="http://schemas.microsoft.com/office/drawing/2014/main" id="{BE564DA9-E5C2-18E5-C8AD-027345070A7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Oval 442">
                <a:extLst>
                  <a:ext uri="{FF2B5EF4-FFF2-40B4-BE49-F238E27FC236}">
                    <a16:creationId xmlns:a16="http://schemas.microsoft.com/office/drawing/2014/main" id="{92642838-AD04-6CED-42B3-FDCAE725910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4" name="Oval 443">
                <a:extLst>
                  <a:ext uri="{FF2B5EF4-FFF2-40B4-BE49-F238E27FC236}">
                    <a16:creationId xmlns:a16="http://schemas.microsoft.com/office/drawing/2014/main" id="{8FDDA740-1E9D-D8FD-8206-CB0EDDA39D0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5" name="Oval 444">
                <a:extLst>
                  <a:ext uri="{FF2B5EF4-FFF2-40B4-BE49-F238E27FC236}">
                    <a16:creationId xmlns:a16="http://schemas.microsoft.com/office/drawing/2014/main" id="{77522465-D548-5E10-093F-727CF2B2D8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6" name="Oval 445">
                <a:extLst>
                  <a:ext uri="{FF2B5EF4-FFF2-40B4-BE49-F238E27FC236}">
                    <a16:creationId xmlns:a16="http://schemas.microsoft.com/office/drawing/2014/main" id="{4CC69A3C-063C-BF41-4722-AB3675B63F1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7" name="Oval 446">
                <a:extLst>
                  <a:ext uri="{FF2B5EF4-FFF2-40B4-BE49-F238E27FC236}">
                    <a16:creationId xmlns:a16="http://schemas.microsoft.com/office/drawing/2014/main" id="{99D9BC52-1067-8404-DC78-CC1968151C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8" name="Oval 447">
                <a:extLst>
                  <a:ext uri="{FF2B5EF4-FFF2-40B4-BE49-F238E27FC236}">
                    <a16:creationId xmlns:a16="http://schemas.microsoft.com/office/drawing/2014/main" id="{CDBDE35B-A0C8-E349-25FC-81B2F4EB13A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79" name="Group 478">
            <a:extLst>
              <a:ext uri="{FF2B5EF4-FFF2-40B4-BE49-F238E27FC236}">
                <a16:creationId xmlns:a16="http://schemas.microsoft.com/office/drawing/2014/main" id="{4433F2FC-A454-7BAF-3DCF-2C9D6236030D}"/>
              </a:ext>
            </a:extLst>
          </p:cNvPr>
          <p:cNvGrpSpPr/>
          <p:nvPr/>
        </p:nvGrpSpPr>
        <p:grpSpPr>
          <a:xfrm rot="5400000" flipV="1">
            <a:off x="542871" y="310650"/>
            <a:ext cx="1729654" cy="848268"/>
            <a:chOff x="233739" y="283295"/>
            <a:chExt cx="1729654" cy="848268"/>
          </a:xfrm>
          <a:gradFill>
            <a:gsLst>
              <a:gs pos="0">
                <a:schemeClr val="accent5"/>
              </a:gs>
              <a:gs pos="100000">
                <a:schemeClr val="tx1">
                  <a:alpha val="0"/>
                </a:schemeClr>
              </a:gs>
            </a:gsLst>
            <a:lin ang="0" scaled="1"/>
          </a:gradFill>
        </p:grpSpPr>
        <p:grpSp>
          <p:nvGrpSpPr>
            <p:cNvPr id="480" name="Group 479">
              <a:extLst>
                <a:ext uri="{FF2B5EF4-FFF2-40B4-BE49-F238E27FC236}">
                  <a16:creationId xmlns:a16="http://schemas.microsoft.com/office/drawing/2014/main" id="{A5A1BD05-7C9D-C9D4-B9C2-AA3CEF86813F}"/>
                </a:ext>
              </a:extLst>
            </p:cNvPr>
            <p:cNvGrpSpPr/>
            <p:nvPr/>
          </p:nvGrpSpPr>
          <p:grpSpPr>
            <a:xfrm rot="5400000">
              <a:off x="1055270" y="-538236"/>
              <a:ext cx="86591" cy="1729654"/>
              <a:chOff x="85292" y="59892"/>
              <a:chExt cx="86591" cy="1729654"/>
            </a:xfrm>
            <a:grpFill/>
          </p:grpSpPr>
          <p:sp>
            <p:nvSpPr>
              <p:cNvPr id="514" name="Oval 513">
                <a:extLst>
                  <a:ext uri="{FF2B5EF4-FFF2-40B4-BE49-F238E27FC236}">
                    <a16:creationId xmlns:a16="http://schemas.microsoft.com/office/drawing/2014/main" id="{3120805D-F927-0A1A-FFE1-1FFD64D031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5" name="Oval 514">
                <a:extLst>
                  <a:ext uri="{FF2B5EF4-FFF2-40B4-BE49-F238E27FC236}">
                    <a16:creationId xmlns:a16="http://schemas.microsoft.com/office/drawing/2014/main" id="{1600C6B0-39E9-EBE6-D25C-0FDF5CE6C2E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6" name="Oval 515">
                <a:extLst>
                  <a:ext uri="{FF2B5EF4-FFF2-40B4-BE49-F238E27FC236}">
                    <a16:creationId xmlns:a16="http://schemas.microsoft.com/office/drawing/2014/main" id="{A8CB7C18-A315-7B2B-E463-59BCA82C8B5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7" name="Oval 516">
                <a:extLst>
                  <a:ext uri="{FF2B5EF4-FFF2-40B4-BE49-F238E27FC236}">
                    <a16:creationId xmlns:a16="http://schemas.microsoft.com/office/drawing/2014/main" id="{FC00EC89-1D06-A064-EF5E-B9FC93737BE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8" name="Oval 517">
                <a:extLst>
                  <a:ext uri="{FF2B5EF4-FFF2-40B4-BE49-F238E27FC236}">
                    <a16:creationId xmlns:a16="http://schemas.microsoft.com/office/drawing/2014/main" id="{2B391FE7-5A4D-F8F1-E1EF-F392D082BF4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9" name="Oval 518">
                <a:extLst>
                  <a:ext uri="{FF2B5EF4-FFF2-40B4-BE49-F238E27FC236}">
                    <a16:creationId xmlns:a16="http://schemas.microsoft.com/office/drawing/2014/main" id="{8551A05A-E18A-33CC-A2CD-4B3EFDACFFF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0" name="Oval 519">
                <a:extLst>
                  <a:ext uri="{FF2B5EF4-FFF2-40B4-BE49-F238E27FC236}">
                    <a16:creationId xmlns:a16="http://schemas.microsoft.com/office/drawing/2014/main" id="{87E10C89-3A50-D60E-652C-0877B8FCC2E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1" name="Oval 520">
                <a:extLst>
                  <a:ext uri="{FF2B5EF4-FFF2-40B4-BE49-F238E27FC236}">
                    <a16:creationId xmlns:a16="http://schemas.microsoft.com/office/drawing/2014/main" id="{F6FCC2F5-46C0-BBD8-D6F2-E3C3C26F773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2" name="Oval 521">
                <a:extLst>
                  <a:ext uri="{FF2B5EF4-FFF2-40B4-BE49-F238E27FC236}">
                    <a16:creationId xmlns:a16="http://schemas.microsoft.com/office/drawing/2014/main" id="{8E140878-748E-C33C-AEF9-3D74B881DDD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3" name="Oval 522">
                <a:extLst>
                  <a:ext uri="{FF2B5EF4-FFF2-40B4-BE49-F238E27FC236}">
                    <a16:creationId xmlns:a16="http://schemas.microsoft.com/office/drawing/2014/main" id="{517102B8-B8FA-7DF7-3C8F-893211B9031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81" name="Group 480">
              <a:extLst>
                <a:ext uri="{FF2B5EF4-FFF2-40B4-BE49-F238E27FC236}">
                  <a16:creationId xmlns:a16="http://schemas.microsoft.com/office/drawing/2014/main" id="{39680EAF-F42B-E331-41A3-8A8BEB806FE8}"/>
                </a:ext>
              </a:extLst>
            </p:cNvPr>
            <p:cNvGrpSpPr/>
            <p:nvPr/>
          </p:nvGrpSpPr>
          <p:grpSpPr>
            <a:xfrm rot="5400000">
              <a:off x="1055270" y="-284344"/>
              <a:ext cx="86591" cy="1729654"/>
              <a:chOff x="85292" y="59892"/>
              <a:chExt cx="86591" cy="1729654"/>
            </a:xfrm>
            <a:grpFill/>
          </p:grpSpPr>
          <p:sp>
            <p:nvSpPr>
              <p:cNvPr id="504" name="Oval 503">
                <a:extLst>
                  <a:ext uri="{FF2B5EF4-FFF2-40B4-BE49-F238E27FC236}">
                    <a16:creationId xmlns:a16="http://schemas.microsoft.com/office/drawing/2014/main" id="{FDDF64CB-045A-A197-2EEF-091574C5F8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5" name="Oval 504">
                <a:extLst>
                  <a:ext uri="{FF2B5EF4-FFF2-40B4-BE49-F238E27FC236}">
                    <a16:creationId xmlns:a16="http://schemas.microsoft.com/office/drawing/2014/main" id="{7C84ECA1-48D5-92D5-6D95-52E07D05DC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6" name="Oval 505">
                <a:extLst>
                  <a:ext uri="{FF2B5EF4-FFF2-40B4-BE49-F238E27FC236}">
                    <a16:creationId xmlns:a16="http://schemas.microsoft.com/office/drawing/2014/main" id="{2C790E3E-E0AA-BB0B-337F-8DBF363D08A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7" name="Oval 506">
                <a:extLst>
                  <a:ext uri="{FF2B5EF4-FFF2-40B4-BE49-F238E27FC236}">
                    <a16:creationId xmlns:a16="http://schemas.microsoft.com/office/drawing/2014/main" id="{F51BDD08-FAE7-E99F-5855-AFA25F887E2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8" name="Oval 507">
                <a:extLst>
                  <a:ext uri="{FF2B5EF4-FFF2-40B4-BE49-F238E27FC236}">
                    <a16:creationId xmlns:a16="http://schemas.microsoft.com/office/drawing/2014/main" id="{4B025D42-FA32-7211-D9D2-0421B341850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9" name="Oval 508">
                <a:extLst>
                  <a:ext uri="{FF2B5EF4-FFF2-40B4-BE49-F238E27FC236}">
                    <a16:creationId xmlns:a16="http://schemas.microsoft.com/office/drawing/2014/main" id="{F4ECB7F1-ECAB-F123-D517-10552726F7A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0" name="Oval 509">
                <a:extLst>
                  <a:ext uri="{FF2B5EF4-FFF2-40B4-BE49-F238E27FC236}">
                    <a16:creationId xmlns:a16="http://schemas.microsoft.com/office/drawing/2014/main" id="{07622041-1656-3D99-1F61-F33A963D80C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1" name="Oval 510">
                <a:extLst>
                  <a:ext uri="{FF2B5EF4-FFF2-40B4-BE49-F238E27FC236}">
                    <a16:creationId xmlns:a16="http://schemas.microsoft.com/office/drawing/2014/main" id="{61F31DB0-C3E1-3EA8-E937-8DB2AD1F4E9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2" name="Oval 511">
                <a:extLst>
                  <a:ext uri="{FF2B5EF4-FFF2-40B4-BE49-F238E27FC236}">
                    <a16:creationId xmlns:a16="http://schemas.microsoft.com/office/drawing/2014/main" id="{667A4AE5-A089-645C-2560-88B549DE66A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3" name="Oval 512">
                <a:extLst>
                  <a:ext uri="{FF2B5EF4-FFF2-40B4-BE49-F238E27FC236}">
                    <a16:creationId xmlns:a16="http://schemas.microsoft.com/office/drawing/2014/main" id="{266539E6-76AE-1543-A72D-B369D82C728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82" name="Group 481">
              <a:extLst>
                <a:ext uri="{FF2B5EF4-FFF2-40B4-BE49-F238E27FC236}">
                  <a16:creationId xmlns:a16="http://schemas.microsoft.com/office/drawing/2014/main" id="{510B691C-8730-C815-9BBE-71D21C785AA8}"/>
                </a:ext>
              </a:extLst>
            </p:cNvPr>
            <p:cNvGrpSpPr/>
            <p:nvPr/>
          </p:nvGrpSpPr>
          <p:grpSpPr>
            <a:xfrm rot="5400000">
              <a:off x="1055270" y="-30452"/>
              <a:ext cx="86591" cy="1729654"/>
              <a:chOff x="85292" y="59892"/>
              <a:chExt cx="86591" cy="1729654"/>
            </a:xfrm>
            <a:grpFill/>
          </p:grpSpPr>
          <p:sp>
            <p:nvSpPr>
              <p:cNvPr id="494" name="Oval 493">
                <a:extLst>
                  <a:ext uri="{FF2B5EF4-FFF2-40B4-BE49-F238E27FC236}">
                    <a16:creationId xmlns:a16="http://schemas.microsoft.com/office/drawing/2014/main" id="{DF087F06-22DA-4732-092D-82B414B5C89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5" name="Oval 494">
                <a:extLst>
                  <a:ext uri="{FF2B5EF4-FFF2-40B4-BE49-F238E27FC236}">
                    <a16:creationId xmlns:a16="http://schemas.microsoft.com/office/drawing/2014/main" id="{56EC787B-3762-1D55-9875-B1A0B952890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6" name="Oval 495">
                <a:extLst>
                  <a:ext uri="{FF2B5EF4-FFF2-40B4-BE49-F238E27FC236}">
                    <a16:creationId xmlns:a16="http://schemas.microsoft.com/office/drawing/2014/main" id="{E3DFB243-DE07-E57F-3EA7-90E7E60B1E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7" name="Oval 496">
                <a:extLst>
                  <a:ext uri="{FF2B5EF4-FFF2-40B4-BE49-F238E27FC236}">
                    <a16:creationId xmlns:a16="http://schemas.microsoft.com/office/drawing/2014/main" id="{D58D740E-5984-CC07-177B-9AB9B7AD8FC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Oval 497">
                <a:extLst>
                  <a:ext uri="{FF2B5EF4-FFF2-40B4-BE49-F238E27FC236}">
                    <a16:creationId xmlns:a16="http://schemas.microsoft.com/office/drawing/2014/main" id="{3AD5FD33-E466-FE87-2A1E-2D7F46CB433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9" name="Oval 498">
                <a:extLst>
                  <a:ext uri="{FF2B5EF4-FFF2-40B4-BE49-F238E27FC236}">
                    <a16:creationId xmlns:a16="http://schemas.microsoft.com/office/drawing/2014/main" id="{7C278214-F10A-84DC-EABE-BA475032D2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Oval 499">
                <a:extLst>
                  <a:ext uri="{FF2B5EF4-FFF2-40B4-BE49-F238E27FC236}">
                    <a16:creationId xmlns:a16="http://schemas.microsoft.com/office/drawing/2014/main" id="{23A39CD9-1D56-7321-2213-4BB45F6CA46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1" name="Oval 500">
                <a:extLst>
                  <a:ext uri="{FF2B5EF4-FFF2-40B4-BE49-F238E27FC236}">
                    <a16:creationId xmlns:a16="http://schemas.microsoft.com/office/drawing/2014/main" id="{7B900713-5D63-E656-980A-B25CBD2C1C1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2" name="Oval 501">
                <a:extLst>
                  <a:ext uri="{FF2B5EF4-FFF2-40B4-BE49-F238E27FC236}">
                    <a16:creationId xmlns:a16="http://schemas.microsoft.com/office/drawing/2014/main" id="{14E7B596-3F0E-D0F1-A9FB-1F9259D666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3" name="Oval 502">
                <a:extLst>
                  <a:ext uri="{FF2B5EF4-FFF2-40B4-BE49-F238E27FC236}">
                    <a16:creationId xmlns:a16="http://schemas.microsoft.com/office/drawing/2014/main" id="{68C876AE-B606-41F5-1D2B-05546B3B919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83" name="Group 482">
              <a:extLst>
                <a:ext uri="{FF2B5EF4-FFF2-40B4-BE49-F238E27FC236}">
                  <a16:creationId xmlns:a16="http://schemas.microsoft.com/office/drawing/2014/main" id="{A2407EA2-E4AA-471B-31B9-B9C57944ACB4}"/>
                </a:ext>
              </a:extLst>
            </p:cNvPr>
            <p:cNvGrpSpPr/>
            <p:nvPr/>
          </p:nvGrpSpPr>
          <p:grpSpPr>
            <a:xfrm rot="5400000">
              <a:off x="1055270" y="223441"/>
              <a:ext cx="86591" cy="1729654"/>
              <a:chOff x="85292" y="59892"/>
              <a:chExt cx="86591" cy="1729654"/>
            </a:xfrm>
            <a:grpFill/>
          </p:grpSpPr>
          <p:sp>
            <p:nvSpPr>
              <p:cNvPr id="484" name="Oval 483">
                <a:extLst>
                  <a:ext uri="{FF2B5EF4-FFF2-40B4-BE49-F238E27FC236}">
                    <a16:creationId xmlns:a16="http://schemas.microsoft.com/office/drawing/2014/main" id="{DFBB45A9-4E17-B846-BEF5-72B1B9A51B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5" name="Oval 484">
                <a:extLst>
                  <a:ext uri="{FF2B5EF4-FFF2-40B4-BE49-F238E27FC236}">
                    <a16:creationId xmlns:a16="http://schemas.microsoft.com/office/drawing/2014/main" id="{A1294255-E179-C755-6E0B-A15A7E02FB9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6" name="Oval 485">
                <a:extLst>
                  <a:ext uri="{FF2B5EF4-FFF2-40B4-BE49-F238E27FC236}">
                    <a16:creationId xmlns:a16="http://schemas.microsoft.com/office/drawing/2014/main" id="{B41B90CB-EE73-3AFD-576F-7A798610C8F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7" name="Oval 486">
                <a:extLst>
                  <a:ext uri="{FF2B5EF4-FFF2-40B4-BE49-F238E27FC236}">
                    <a16:creationId xmlns:a16="http://schemas.microsoft.com/office/drawing/2014/main" id="{B62E03C9-CA7F-0E37-D209-F91806E8038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Oval 487">
                <a:extLst>
                  <a:ext uri="{FF2B5EF4-FFF2-40B4-BE49-F238E27FC236}">
                    <a16:creationId xmlns:a16="http://schemas.microsoft.com/office/drawing/2014/main" id="{39DD0293-2E15-280B-60B0-8613CFD354F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9" name="Oval 488">
                <a:extLst>
                  <a:ext uri="{FF2B5EF4-FFF2-40B4-BE49-F238E27FC236}">
                    <a16:creationId xmlns:a16="http://schemas.microsoft.com/office/drawing/2014/main" id="{7FE210EA-70A1-A3B7-F3D9-75D545440B8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0" name="Oval 489">
                <a:extLst>
                  <a:ext uri="{FF2B5EF4-FFF2-40B4-BE49-F238E27FC236}">
                    <a16:creationId xmlns:a16="http://schemas.microsoft.com/office/drawing/2014/main" id="{9752FF6F-5B9A-870D-7986-5921A319BD4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1" name="Oval 490">
                <a:extLst>
                  <a:ext uri="{FF2B5EF4-FFF2-40B4-BE49-F238E27FC236}">
                    <a16:creationId xmlns:a16="http://schemas.microsoft.com/office/drawing/2014/main" id="{FCD739C7-5144-BC65-C7D5-9655A0AC01D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2" name="Oval 491">
                <a:extLst>
                  <a:ext uri="{FF2B5EF4-FFF2-40B4-BE49-F238E27FC236}">
                    <a16:creationId xmlns:a16="http://schemas.microsoft.com/office/drawing/2014/main" id="{99D4CBEB-C4A5-1414-3B89-C51F63FC580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3" name="Oval 492">
                <a:extLst>
                  <a:ext uri="{FF2B5EF4-FFF2-40B4-BE49-F238E27FC236}">
                    <a16:creationId xmlns:a16="http://schemas.microsoft.com/office/drawing/2014/main" id="{861D7861-5C87-D65C-9199-3721D6ED20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524" name="Group 523">
            <a:extLst>
              <a:ext uri="{FF2B5EF4-FFF2-40B4-BE49-F238E27FC236}">
                <a16:creationId xmlns:a16="http://schemas.microsoft.com/office/drawing/2014/main" id="{239BB705-2046-88F7-D683-CAE8EFEFB9A1}"/>
              </a:ext>
            </a:extLst>
          </p:cNvPr>
          <p:cNvGrpSpPr/>
          <p:nvPr/>
        </p:nvGrpSpPr>
        <p:grpSpPr>
          <a:xfrm rot="5400000" flipV="1">
            <a:off x="1516099" y="123549"/>
            <a:ext cx="1729654" cy="848268"/>
            <a:chOff x="233739" y="283295"/>
            <a:chExt cx="1729654" cy="848268"/>
          </a:xfrm>
          <a:gradFill>
            <a:gsLst>
              <a:gs pos="0">
                <a:schemeClr val="accent5"/>
              </a:gs>
              <a:gs pos="100000">
                <a:schemeClr val="tx1">
                  <a:alpha val="0"/>
                </a:schemeClr>
              </a:gs>
            </a:gsLst>
            <a:lin ang="0" scaled="1"/>
          </a:gradFill>
        </p:grpSpPr>
        <p:grpSp>
          <p:nvGrpSpPr>
            <p:cNvPr id="525" name="Group 524">
              <a:extLst>
                <a:ext uri="{FF2B5EF4-FFF2-40B4-BE49-F238E27FC236}">
                  <a16:creationId xmlns:a16="http://schemas.microsoft.com/office/drawing/2014/main" id="{E3D3B1EA-5622-7F9E-5C93-A2F8397B9034}"/>
                </a:ext>
              </a:extLst>
            </p:cNvPr>
            <p:cNvGrpSpPr/>
            <p:nvPr/>
          </p:nvGrpSpPr>
          <p:grpSpPr>
            <a:xfrm rot="5400000">
              <a:off x="1055270" y="-538236"/>
              <a:ext cx="86591" cy="1729654"/>
              <a:chOff x="85292" y="59892"/>
              <a:chExt cx="86591" cy="1729654"/>
            </a:xfrm>
            <a:grpFill/>
          </p:grpSpPr>
          <p:sp>
            <p:nvSpPr>
              <p:cNvPr id="559" name="Oval 558">
                <a:extLst>
                  <a:ext uri="{FF2B5EF4-FFF2-40B4-BE49-F238E27FC236}">
                    <a16:creationId xmlns:a16="http://schemas.microsoft.com/office/drawing/2014/main" id="{3B982876-B28E-E94A-6A25-A20EC9AA6DC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Oval 559">
                <a:extLst>
                  <a:ext uri="{FF2B5EF4-FFF2-40B4-BE49-F238E27FC236}">
                    <a16:creationId xmlns:a16="http://schemas.microsoft.com/office/drawing/2014/main" id="{83B6F6D9-E3EE-1B07-D8C3-76324A68026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1" name="Oval 560">
                <a:extLst>
                  <a:ext uri="{FF2B5EF4-FFF2-40B4-BE49-F238E27FC236}">
                    <a16:creationId xmlns:a16="http://schemas.microsoft.com/office/drawing/2014/main" id="{D73131D4-06DA-8BC9-DBD8-4D170C50AF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2" name="Oval 561">
                <a:extLst>
                  <a:ext uri="{FF2B5EF4-FFF2-40B4-BE49-F238E27FC236}">
                    <a16:creationId xmlns:a16="http://schemas.microsoft.com/office/drawing/2014/main" id="{00A65847-2D7B-2CF4-4EE8-4168C0497A5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3" name="Oval 562">
                <a:extLst>
                  <a:ext uri="{FF2B5EF4-FFF2-40B4-BE49-F238E27FC236}">
                    <a16:creationId xmlns:a16="http://schemas.microsoft.com/office/drawing/2014/main" id="{65BD7680-E420-C9DE-37B2-59D401021C5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Oval 563">
                <a:extLst>
                  <a:ext uri="{FF2B5EF4-FFF2-40B4-BE49-F238E27FC236}">
                    <a16:creationId xmlns:a16="http://schemas.microsoft.com/office/drawing/2014/main" id="{A6D6126C-164D-0B06-1CC0-F2B1935EC9D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Oval 564">
                <a:extLst>
                  <a:ext uri="{FF2B5EF4-FFF2-40B4-BE49-F238E27FC236}">
                    <a16:creationId xmlns:a16="http://schemas.microsoft.com/office/drawing/2014/main" id="{6C3B674D-B452-8E65-9828-DF2A365B14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Oval 565">
                <a:extLst>
                  <a:ext uri="{FF2B5EF4-FFF2-40B4-BE49-F238E27FC236}">
                    <a16:creationId xmlns:a16="http://schemas.microsoft.com/office/drawing/2014/main" id="{2998E1FE-8DF0-156B-8B53-07BBC0F27BD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7" name="Oval 566">
                <a:extLst>
                  <a:ext uri="{FF2B5EF4-FFF2-40B4-BE49-F238E27FC236}">
                    <a16:creationId xmlns:a16="http://schemas.microsoft.com/office/drawing/2014/main" id="{316B4AD4-D81F-49E0-D49F-46E8E68A6C0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Oval 567">
                <a:extLst>
                  <a:ext uri="{FF2B5EF4-FFF2-40B4-BE49-F238E27FC236}">
                    <a16:creationId xmlns:a16="http://schemas.microsoft.com/office/drawing/2014/main" id="{6ED5B65F-63F9-DE92-31A6-4B9D7C5023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6" name="Group 525">
              <a:extLst>
                <a:ext uri="{FF2B5EF4-FFF2-40B4-BE49-F238E27FC236}">
                  <a16:creationId xmlns:a16="http://schemas.microsoft.com/office/drawing/2014/main" id="{E1D93A35-7ACB-5A29-191D-371FA9D73636}"/>
                </a:ext>
              </a:extLst>
            </p:cNvPr>
            <p:cNvGrpSpPr/>
            <p:nvPr/>
          </p:nvGrpSpPr>
          <p:grpSpPr>
            <a:xfrm rot="5400000">
              <a:off x="1055270" y="-284344"/>
              <a:ext cx="86591" cy="1729654"/>
              <a:chOff x="85292" y="59892"/>
              <a:chExt cx="86591" cy="1729654"/>
            </a:xfrm>
            <a:grpFill/>
          </p:grpSpPr>
          <p:sp>
            <p:nvSpPr>
              <p:cNvPr id="549" name="Oval 548">
                <a:extLst>
                  <a:ext uri="{FF2B5EF4-FFF2-40B4-BE49-F238E27FC236}">
                    <a16:creationId xmlns:a16="http://schemas.microsoft.com/office/drawing/2014/main" id="{561F65C4-AED9-B1A7-A99D-9E9310373ED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Oval 549">
                <a:extLst>
                  <a:ext uri="{FF2B5EF4-FFF2-40B4-BE49-F238E27FC236}">
                    <a16:creationId xmlns:a16="http://schemas.microsoft.com/office/drawing/2014/main" id="{3BA781D1-38DB-FC9A-4816-788221A2842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1" name="Oval 550">
                <a:extLst>
                  <a:ext uri="{FF2B5EF4-FFF2-40B4-BE49-F238E27FC236}">
                    <a16:creationId xmlns:a16="http://schemas.microsoft.com/office/drawing/2014/main" id="{16A29182-A425-AFBA-BA33-93BC55A04FD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2" name="Oval 551">
                <a:extLst>
                  <a:ext uri="{FF2B5EF4-FFF2-40B4-BE49-F238E27FC236}">
                    <a16:creationId xmlns:a16="http://schemas.microsoft.com/office/drawing/2014/main" id="{202170C8-6094-6732-7156-F9AAA747A78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3" name="Oval 552">
                <a:extLst>
                  <a:ext uri="{FF2B5EF4-FFF2-40B4-BE49-F238E27FC236}">
                    <a16:creationId xmlns:a16="http://schemas.microsoft.com/office/drawing/2014/main" id="{87F02146-A13D-83EC-F276-A6E3F2AF713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Oval 553">
                <a:extLst>
                  <a:ext uri="{FF2B5EF4-FFF2-40B4-BE49-F238E27FC236}">
                    <a16:creationId xmlns:a16="http://schemas.microsoft.com/office/drawing/2014/main" id="{3B465A6E-9167-DF5F-9888-0442D703531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Oval 554">
                <a:extLst>
                  <a:ext uri="{FF2B5EF4-FFF2-40B4-BE49-F238E27FC236}">
                    <a16:creationId xmlns:a16="http://schemas.microsoft.com/office/drawing/2014/main" id="{79AFF015-C1BF-BCCC-F6CB-680D895DDEC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Oval 555">
                <a:extLst>
                  <a:ext uri="{FF2B5EF4-FFF2-40B4-BE49-F238E27FC236}">
                    <a16:creationId xmlns:a16="http://schemas.microsoft.com/office/drawing/2014/main" id="{8B37EFBA-7908-B28D-A2E9-C5AB70FC68B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7" name="Oval 556">
                <a:extLst>
                  <a:ext uri="{FF2B5EF4-FFF2-40B4-BE49-F238E27FC236}">
                    <a16:creationId xmlns:a16="http://schemas.microsoft.com/office/drawing/2014/main" id="{38E3318F-ECB3-CF9A-EA84-208E58373EB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Oval 557">
                <a:extLst>
                  <a:ext uri="{FF2B5EF4-FFF2-40B4-BE49-F238E27FC236}">
                    <a16:creationId xmlns:a16="http://schemas.microsoft.com/office/drawing/2014/main" id="{823BAE98-4ACE-E737-7C48-669A8A92DE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7" name="Group 526">
              <a:extLst>
                <a:ext uri="{FF2B5EF4-FFF2-40B4-BE49-F238E27FC236}">
                  <a16:creationId xmlns:a16="http://schemas.microsoft.com/office/drawing/2014/main" id="{10A2EAE8-DC56-C9D6-BAE7-735AFD4E72F0}"/>
                </a:ext>
              </a:extLst>
            </p:cNvPr>
            <p:cNvGrpSpPr/>
            <p:nvPr/>
          </p:nvGrpSpPr>
          <p:grpSpPr>
            <a:xfrm rot="5400000">
              <a:off x="1055270" y="-30452"/>
              <a:ext cx="86591" cy="1729654"/>
              <a:chOff x="85292" y="59892"/>
              <a:chExt cx="86591" cy="1729654"/>
            </a:xfrm>
            <a:grpFill/>
          </p:grpSpPr>
          <p:sp>
            <p:nvSpPr>
              <p:cNvPr id="539" name="Oval 538">
                <a:extLst>
                  <a:ext uri="{FF2B5EF4-FFF2-40B4-BE49-F238E27FC236}">
                    <a16:creationId xmlns:a16="http://schemas.microsoft.com/office/drawing/2014/main" id="{E971ABEA-5E7A-14EE-F4ED-B8289B32CC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Oval 539">
                <a:extLst>
                  <a:ext uri="{FF2B5EF4-FFF2-40B4-BE49-F238E27FC236}">
                    <a16:creationId xmlns:a16="http://schemas.microsoft.com/office/drawing/2014/main" id="{A19563D4-623E-222F-01B2-5B4FC93CE94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1" name="Oval 540">
                <a:extLst>
                  <a:ext uri="{FF2B5EF4-FFF2-40B4-BE49-F238E27FC236}">
                    <a16:creationId xmlns:a16="http://schemas.microsoft.com/office/drawing/2014/main" id="{7B01327C-C4AC-78D8-DC7A-076D3B53C3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2" name="Oval 541">
                <a:extLst>
                  <a:ext uri="{FF2B5EF4-FFF2-40B4-BE49-F238E27FC236}">
                    <a16:creationId xmlns:a16="http://schemas.microsoft.com/office/drawing/2014/main" id="{2DA3E76A-27E9-829D-FE40-2FBD32D1631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3" name="Oval 542">
                <a:extLst>
                  <a:ext uri="{FF2B5EF4-FFF2-40B4-BE49-F238E27FC236}">
                    <a16:creationId xmlns:a16="http://schemas.microsoft.com/office/drawing/2014/main" id="{D2F68A12-1E68-7525-E91F-B2C371C8BA6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Oval 543">
                <a:extLst>
                  <a:ext uri="{FF2B5EF4-FFF2-40B4-BE49-F238E27FC236}">
                    <a16:creationId xmlns:a16="http://schemas.microsoft.com/office/drawing/2014/main" id="{B66EB990-A232-5FE0-944E-B43EE17CB10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Oval 544">
                <a:extLst>
                  <a:ext uri="{FF2B5EF4-FFF2-40B4-BE49-F238E27FC236}">
                    <a16:creationId xmlns:a16="http://schemas.microsoft.com/office/drawing/2014/main" id="{3E13E376-FC31-1CAF-B30C-F6E8A53BC79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Oval 545">
                <a:extLst>
                  <a:ext uri="{FF2B5EF4-FFF2-40B4-BE49-F238E27FC236}">
                    <a16:creationId xmlns:a16="http://schemas.microsoft.com/office/drawing/2014/main" id="{0F3C8166-00CB-0748-6C51-D43ACD2BE8E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7" name="Oval 546">
                <a:extLst>
                  <a:ext uri="{FF2B5EF4-FFF2-40B4-BE49-F238E27FC236}">
                    <a16:creationId xmlns:a16="http://schemas.microsoft.com/office/drawing/2014/main" id="{7FCCB4E5-9697-9D43-B076-2050F9DD938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Oval 547">
                <a:extLst>
                  <a:ext uri="{FF2B5EF4-FFF2-40B4-BE49-F238E27FC236}">
                    <a16:creationId xmlns:a16="http://schemas.microsoft.com/office/drawing/2014/main" id="{BDDDA695-05BD-BFF8-0C61-82500B8CC1E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8" name="Group 527">
              <a:extLst>
                <a:ext uri="{FF2B5EF4-FFF2-40B4-BE49-F238E27FC236}">
                  <a16:creationId xmlns:a16="http://schemas.microsoft.com/office/drawing/2014/main" id="{1F97D076-50E9-4D8D-8CDA-EC2807AC9304}"/>
                </a:ext>
              </a:extLst>
            </p:cNvPr>
            <p:cNvGrpSpPr/>
            <p:nvPr/>
          </p:nvGrpSpPr>
          <p:grpSpPr>
            <a:xfrm rot="5400000">
              <a:off x="1055270" y="223441"/>
              <a:ext cx="86591" cy="1729654"/>
              <a:chOff x="85292" y="59892"/>
              <a:chExt cx="86591" cy="1729654"/>
            </a:xfrm>
            <a:grpFill/>
          </p:grpSpPr>
          <p:sp>
            <p:nvSpPr>
              <p:cNvPr id="529" name="Oval 528">
                <a:extLst>
                  <a:ext uri="{FF2B5EF4-FFF2-40B4-BE49-F238E27FC236}">
                    <a16:creationId xmlns:a16="http://schemas.microsoft.com/office/drawing/2014/main" id="{5FD1D23A-1B90-F76B-0307-265164F32A8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0" name="Oval 529">
                <a:extLst>
                  <a:ext uri="{FF2B5EF4-FFF2-40B4-BE49-F238E27FC236}">
                    <a16:creationId xmlns:a16="http://schemas.microsoft.com/office/drawing/2014/main" id="{0F9C0581-B3A4-053D-B407-E26AA988613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1" name="Oval 530">
                <a:extLst>
                  <a:ext uri="{FF2B5EF4-FFF2-40B4-BE49-F238E27FC236}">
                    <a16:creationId xmlns:a16="http://schemas.microsoft.com/office/drawing/2014/main" id="{C5F37B35-57CB-73BC-83C3-18E77795CF0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2" name="Oval 531">
                <a:extLst>
                  <a:ext uri="{FF2B5EF4-FFF2-40B4-BE49-F238E27FC236}">
                    <a16:creationId xmlns:a16="http://schemas.microsoft.com/office/drawing/2014/main" id="{CAC446AB-4E95-A70E-F796-E705575F712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3" name="Oval 532">
                <a:extLst>
                  <a:ext uri="{FF2B5EF4-FFF2-40B4-BE49-F238E27FC236}">
                    <a16:creationId xmlns:a16="http://schemas.microsoft.com/office/drawing/2014/main" id="{859CED23-5937-13AC-522D-7C5BAB79FC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4" name="Oval 533">
                <a:extLst>
                  <a:ext uri="{FF2B5EF4-FFF2-40B4-BE49-F238E27FC236}">
                    <a16:creationId xmlns:a16="http://schemas.microsoft.com/office/drawing/2014/main" id="{10E6C1B3-E40E-CA30-C16D-33ED3232054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5" name="Oval 534">
                <a:extLst>
                  <a:ext uri="{FF2B5EF4-FFF2-40B4-BE49-F238E27FC236}">
                    <a16:creationId xmlns:a16="http://schemas.microsoft.com/office/drawing/2014/main" id="{28187B7B-CF15-EEE1-560B-9DC0A6D1008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Oval 535">
                <a:extLst>
                  <a:ext uri="{FF2B5EF4-FFF2-40B4-BE49-F238E27FC236}">
                    <a16:creationId xmlns:a16="http://schemas.microsoft.com/office/drawing/2014/main" id="{7C1D398B-1399-6E13-4F35-71AE43EA19C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Oval 536">
                <a:extLst>
                  <a:ext uri="{FF2B5EF4-FFF2-40B4-BE49-F238E27FC236}">
                    <a16:creationId xmlns:a16="http://schemas.microsoft.com/office/drawing/2014/main" id="{BCD3BFEF-4509-7FF7-AF41-16D397FAD58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Oval 537">
                <a:extLst>
                  <a:ext uri="{FF2B5EF4-FFF2-40B4-BE49-F238E27FC236}">
                    <a16:creationId xmlns:a16="http://schemas.microsoft.com/office/drawing/2014/main" id="{2C11811E-962A-0180-9DC0-B0BDCDDEB0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569" name="Group 568">
            <a:extLst>
              <a:ext uri="{FF2B5EF4-FFF2-40B4-BE49-F238E27FC236}">
                <a16:creationId xmlns:a16="http://schemas.microsoft.com/office/drawing/2014/main" id="{5F5910C2-067E-EA4D-AB65-46690A123842}"/>
              </a:ext>
            </a:extLst>
          </p:cNvPr>
          <p:cNvGrpSpPr/>
          <p:nvPr/>
        </p:nvGrpSpPr>
        <p:grpSpPr>
          <a:xfrm rot="5400000" flipV="1">
            <a:off x="2020159" y="-244696"/>
            <a:ext cx="1729654" cy="848268"/>
            <a:chOff x="233739" y="283295"/>
            <a:chExt cx="1729654" cy="848268"/>
          </a:xfrm>
          <a:gradFill>
            <a:gsLst>
              <a:gs pos="0">
                <a:schemeClr val="accent5"/>
              </a:gs>
              <a:gs pos="100000">
                <a:schemeClr val="tx1">
                  <a:alpha val="0"/>
                </a:schemeClr>
              </a:gs>
            </a:gsLst>
            <a:lin ang="0" scaled="1"/>
          </a:gradFill>
        </p:grpSpPr>
        <p:grpSp>
          <p:nvGrpSpPr>
            <p:cNvPr id="570" name="Group 569">
              <a:extLst>
                <a:ext uri="{FF2B5EF4-FFF2-40B4-BE49-F238E27FC236}">
                  <a16:creationId xmlns:a16="http://schemas.microsoft.com/office/drawing/2014/main" id="{BBA6963D-11F1-3D91-D382-96035D22632D}"/>
                </a:ext>
              </a:extLst>
            </p:cNvPr>
            <p:cNvGrpSpPr/>
            <p:nvPr/>
          </p:nvGrpSpPr>
          <p:grpSpPr>
            <a:xfrm rot="5400000">
              <a:off x="1055270" y="-538236"/>
              <a:ext cx="86591" cy="1729654"/>
              <a:chOff x="85292" y="59892"/>
              <a:chExt cx="86591" cy="1729654"/>
            </a:xfrm>
            <a:grpFill/>
          </p:grpSpPr>
          <p:sp>
            <p:nvSpPr>
              <p:cNvPr id="604" name="Oval 603">
                <a:extLst>
                  <a:ext uri="{FF2B5EF4-FFF2-40B4-BE49-F238E27FC236}">
                    <a16:creationId xmlns:a16="http://schemas.microsoft.com/office/drawing/2014/main" id="{123EA25B-E64C-4B08-1A26-C34AE305DAC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5" name="Oval 604">
                <a:extLst>
                  <a:ext uri="{FF2B5EF4-FFF2-40B4-BE49-F238E27FC236}">
                    <a16:creationId xmlns:a16="http://schemas.microsoft.com/office/drawing/2014/main" id="{A3BA1A0F-E613-BD48-A9FB-4DC8571033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6" name="Oval 605">
                <a:extLst>
                  <a:ext uri="{FF2B5EF4-FFF2-40B4-BE49-F238E27FC236}">
                    <a16:creationId xmlns:a16="http://schemas.microsoft.com/office/drawing/2014/main" id="{B2976BBE-3BBF-2128-D3C9-2605C6672D9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7" name="Oval 606">
                <a:extLst>
                  <a:ext uri="{FF2B5EF4-FFF2-40B4-BE49-F238E27FC236}">
                    <a16:creationId xmlns:a16="http://schemas.microsoft.com/office/drawing/2014/main" id="{930DFA9A-E6BB-91C3-92E5-AD9B98DBA80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8" name="Oval 607">
                <a:extLst>
                  <a:ext uri="{FF2B5EF4-FFF2-40B4-BE49-F238E27FC236}">
                    <a16:creationId xmlns:a16="http://schemas.microsoft.com/office/drawing/2014/main" id="{9742E757-3DD1-6736-8F42-3ACE39FCF9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9" name="Oval 608">
                <a:extLst>
                  <a:ext uri="{FF2B5EF4-FFF2-40B4-BE49-F238E27FC236}">
                    <a16:creationId xmlns:a16="http://schemas.microsoft.com/office/drawing/2014/main" id="{838AF662-9208-D1C4-3746-7A57E552F95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0" name="Oval 609">
                <a:extLst>
                  <a:ext uri="{FF2B5EF4-FFF2-40B4-BE49-F238E27FC236}">
                    <a16:creationId xmlns:a16="http://schemas.microsoft.com/office/drawing/2014/main" id="{895C044F-A0B7-DC94-886B-A7EA649E4DE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1" name="Oval 610">
                <a:extLst>
                  <a:ext uri="{FF2B5EF4-FFF2-40B4-BE49-F238E27FC236}">
                    <a16:creationId xmlns:a16="http://schemas.microsoft.com/office/drawing/2014/main" id="{2B692545-F595-9AB0-73BC-60688342381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2" name="Oval 611">
                <a:extLst>
                  <a:ext uri="{FF2B5EF4-FFF2-40B4-BE49-F238E27FC236}">
                    <a16:creationId xmlns:a16="http://schemas.microsoft.com/office/drawing/2014/main" id="{5D42D37F-9EC4-2409-DD90-DFA90EA9CAF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3" name="Oval 612">
                <a:extLst>
                  <a:ext uri="{FF2B5EF4-FFF2-40B4-BE49-F238E27FC236}">
                    <a16:creationId xmlns:a16="http://schemas.microsoft.com/office/drawing/2014/main" id="{7FD015A2-68E9-05F5-1957-14E3CB7D409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71" name="Group 570">
              <a:extLst>
                <a:ext uri="{FF2B5EF4-FFF2-40B4-BE49-F238E27FC236}">
                  <a16:creationId xmlns:a16="http://schemas.microsoft.com/office/drawing/2014/main" id="{0DEE3745-E56E-D19C-0F34-886889ECEA21}"/>
                </a:ext>
              </a:extLst>
            </p:cNvPr>
            <p:cNvGrpSpPr/>
            <p:nvPr/>
          </p:nvGrpSpPr>
          <p:grpSpPr>
            <a:xfrm rot="5400000">
              <a:off x="1055270" y="-284344"/>
              <a:ext cx="86591" cy="1729654"/>
              <a:chOff x="85292" y="59892"/>
              <a:chExt cx="86591" cy="1729654"/>
            </a:xfrm>
            <a:grpFill/>
          </p:grpSpPr>
          <p:sp>
            <p:nvSpPr>
              <p:cNvPr id="594" name="Oval 593">
                <a:extLst>
                  <a:ext uri="{FF2B5EF4-FFF2-40B4-BE49-F238E27FC236}">
                    <a16:creationId xmlns:a16="http://schemas.microsoft.com/office/drawing/2014/main" id="{49E39E30-9BE7-FDDC-7804-51AA052A960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5" name="Oval 594">
                <a:extLst>
                  <a:ext uri="{FF2B5EF4-FFF2-40B4-BE49-F238E27FC236}">
                    <a16:creationId xmlns:a16="http://schemas.microsoft.com/office/drawing/2014/main" id="{9F0A6941-A061-5718-CA46-4BDD6FCCBDA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6" name="Oval 595">
                <a:extLst>
                  <a:ext uri="{FF2B5EF4-FFF2-40B4-BE49-F238E27FC236}">
                    <a16:creationId xmlns:a16="http://schemas.microsoft.com/office/drawing/2014/main" id="{7CEDBC54-AC2D-8B19-3417-574D973EC57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7" name="Oval 596">
                <a:extLst>
                  <a:ext uri="{FF2B5EF4-FFF2-40B4-BE49-F238E27FC236}">
                    <a16:creationId xmlns:a16="http://schemas.microsoft.com/office/drawing/2014/main" id="{E71D94F5-9DC2-CF6B-992A-EBA072C0AA9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8" name="Oval 597">
                <a:extLst>
                  <a:ext uri="{FF2B5EF4-FFF2-40B4-BE49-F238E27FC236}">
                    <a16:creationId xmlns:a16="http://schemas.microsoft.com/office/drawing/2014/main" id="{8D2E184C-1ABF-08BA-08D3-1343D8EB9B4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9" name="Oval 598">
                <a:extLst>
                  <a:ext uri="{FF2B5EF4-FFF2-40B4-BE49-F238E27FC236}">
                    <a16:creationId xmlns:a16="http://schemas.microsoft.com/office/drawing/2014/main" id="{B577D620-5351-00C3-9AA9-DD1ABABF1AB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0" name="Oval 599">
                <a:extLst>
                  <a:ext uri="{FF2B5EF4-FFF2-40B4-BE49-F238E27FC236}">
                    <a16:creationId xmlns:a16="http://schemas.microsoft.com/office/drawing/2014/main" id="{FF10D034-99C5-9525-D8CC-534FE580D3B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1" name="Oval 600">
                <a:extLst>
                  <a:ext uri="{FF2B5EF4-FFF2-40B4-BE49-F238E27FC236}">
                    <a16:creationId xmlns:a16="http://schemas.microsoft.com/office/drawing/2014/main" id="{746AD111-6202-FA1A-6453-494E3F7069D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2" name="Oval 601">
                <a:extLst>
                  <a:ext uri="{FF2B5EF4-FFF2-40B4-BE49-F238E27FC236}">
                    <a16:creationId xmlns:a16="http://schemas.microsoft.com/office/drawing/2014/main" id="{650934B5-E1E5-8918-CBE2-386956A38B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3" name="Oval 602">
                <a:extLst>
                  <a:ext uri="{FF2B5EF4-FFF2-40B4-BE49-F238E27FC236}">
                    <a16:creationId xmlns:a16="http://schemas.microsoft.com/office/drawing/2014/main" id="{960ECA0F-3FC8-39C0-22A6-D8172972121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72" name="Group 571">
              <a:extLst>
                <a:ext uri="{FF2B5EF4-FFF2-40B4-BE49-F238E27FC236}">
                  <a16:creationId xmlns:a16="http://schemas.microsoft.com/office/drawing/2014/main" id="{44B4D810-E810-6880-843A-4E074910D4CE}"/>
                </a:ext>
              </a:extLst>
            </p:cNvPr>
            <p:cNvGrpSpPr/>
            <p:nvPr/>
          </p:nvGrpSpPr>
          <p:grpSpPr>
            <a:xfrm rot="5400000">
              <a:off x="1055270" y="-30452"/>
              <a:ext cx="86591" cy="1729654"/>
              <a:chOff x="85292" y="59892"/>
              <a:chExt cx="86591" cy="1729654"/>
            </a:xfrm>
            <a:grpFill/>
          </p:grpSpPr>
          <p:sp>
            <p:nvSpPr>
              <p:cNvPr id="584" name="Oval 583">
                <a:extLst>
                  <a:ext uri="{FF2B5EF4-FFF2-40B4-BE49-F238E27FC236}">
                    <a16:creationId xmlns:a16="http://schemas.microsoft.com/office/drawing/2014/main" id="{D569E97C-39EC-965A-25C4-913624F680F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5" name="Oval 584">
                <a:extLst>
                  <a:ext uri="{FF2B5EF4-FFF2-40B4-BE49-F238E27FC236}">
                    <a16:creationId xmlns:a16="http://schemas.microsoft.com/office/drawing/2014/main" id="{E38B8C90-BDFE-DBFA-985B-8A760030A94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6" name="Oval 585">
                <a:extLst>
                  <a:ext uri="{FF2B5EF4-FFF2-40B4-BE49-F238E27FC236}">
                    <a16:creationId xmlns:a16="http://schemas.microsoft.com/office/drawing/2014/main" id="{63EA35FC-B9AA-3111-CE9B-1CA383DCF60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7" name="Oval 586">
                <a:extLst>
                  <a:ext uri="{FF2B5EF4-FFF2-40B4-BE49-F238E27FC236}">
                    <a16:creationId xmlns:a16="http://schemas.microsoft.com/office/drawing/2014/main" id="{20234EBC-FA2C-9825-1781-7CDA2D8A4D8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8" name="Oval 587">
                <a:extLst>
                  <a:ext uri="{FF2B5EF4-FFF2-40B4-BE49-F238E27FC236}">
                    <a16:creationId xmlns:a16="http://schemas.microsoft.com/office/drawing/2014/main" id="{8E31FE60-26A2-6B15-0117-8E4D6DD220C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9" name="Oval 588">
                <a:extLst>
                  <a:ext uri="{FF2B5EF4-FFF2-40B4-BE49-F238E27FC236}">
                    <a16:creationId xmlns:a16="http://schemas.microsoft.com/office/drawing/2014/main" id="{CECD2F34-4139-7249-9E23-49EAEC5E47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0" name="Oval 589">
                <a:extLst>
                  <a:ext uri="{FF2B5EF4-FFF2-40B4-BE49-F238E27FC236}">
                    <a16:creationId xmlns:a16="http://schemas.microsoft.com/office/drawing/2014/main" id="{28205E74-7634-B4B1-5A64-E3BA79BC998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1" name="Oval 590">
                <a:extLst>
                  <a:ext uri="{FF2B5EF4-FFF2-40B4-BE49-F238E27FC236}">
                    <a16:creationId xmlns:a16="http://schemas.microsoft.com/office/drawing/2014/main" id="{A408B6EB-C76D-4A74-7361-F74F47068CA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2" name="Oval 591">
                <a:extLst>
                  <a:ext uri="{FF2B5EF4-FFF2-40B4-BE49-F238E27FC236}">
                    <a16:creationId xmlns:a16="http://schemas.microsoft.com/office/drawing/2014/main" id="{AF6CD4EE-2166-040C-506B-972EF0C7AB7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3" name="Oval 592">
                <a:extLst>
                  <a:ext uri="{FF2B5EF4-FFF2-40B4-BE49-F238E27FC236}">
                    <a16:creationId xmlns:a16="http://schemas.microsoft.com/office/drawing/2014/main" id="{918E388F-76E0-B134-AABA-8D1D40B5CEA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73" name="Group 572">
              <a:extLst>
                <a:ext uri="{FF2B5EF4-FFF2-40B4-BE49-F238E27FC236}">
                  <a16:creationId xmlns:a16="http://schemas.microsoft.com/office/drawing/2014/main" id="{2E1BCF39-B565-D258-A9D5-AD9C223F64D1}"/>
                </a:ext>
              </a:extLst>
            </p:cNvPr>
            <p:cNvGrpSpPr/>
            <p:nvPr/>
          </p:nvGrpSpPr>
          <p:grpSpPr>
            <a:xfrm rot="5400000">
              <a:off x="1055270" y="223441"/>
              <a:ext cx="86591" cy="1729654"/>
              <a:chOff x="85292" y="59892"/>
              <a:chExt cx="86591" cy="1729654"/>
            </a:xfrm>
            <a:grpFill/>
          </p:grpSpPr>
          <p:sp>
            <p:nvSpPr>
              <p:cNvPr id="574" name="Oval 573">
                <a:extLst>
                  <a:ext uri="{FF2B5EF4-FFF2-40B4-BE49-F238E27FC236}">
                    <a16:creationId xmlns:a16="http://schemas.microsoft.com/office/drawing/2014/main" id="{8F50F62B-DE4C-233F-89FB-16F6FA8258C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5" name="Oval 574">
                <a:extLst>
                  <a:ext uri="{FF2B5EF4-FFF2-40B4-BE49-F238E27FC236}">
                    <a16:creationId xmlns:a16="http://schemas.microsoft.com/office/drawing/2014/main" id="{73C1BFC0-3E93-E400-5668-E3C08D26084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6" name="Oval 575">
                <a:extLst>
                  <a:ext uri="{FF2B5EF4-FFF2-40B4-BE49-F238E27FC236}">
                    <a16:creationId xmlns:a16="http://schemas.microsoft.com/office/drawing/2014/main" id="{BC8BA1CF-0A78-1035-F437-CB0ED9D6492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7" name="Oval 576">
                <a:extLst>
                  <a:ext uri="{FF2B5EF4-FFF2-40B4-BE49-F238E27FC236}">
                    <a16:creationId xmlns:a16="http://schemas.microsoft.com/office/drawing/2014/main" id="{ECE9FF4D-3BCA-C3B4-BC65-5BBA6A6DAAD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8" name="Oval 577">
                <a:extLst>
                  <a:ext uri="{FF2B5EF4-FFF2-40B4-BE49-F238E27FC236}">
                    <a16:creationId xmlns:a16="http://schemas.microsoft.com/office/drawing/2014/main" id="{690C3B0E-E772-F4CC-F4F4-638B3AC082D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9" name="Oval 578">
                <a:extLst>
                  <a:ext uri="{FF2B5EF4-FFF2-40B4-BE49-F238E27FC236}">
                    <a16:creationId xmlns:a16="http://schemas.microsoft.com/office/drawing/2014/main" id="{8C2EC53B-5232-ED60-8532-88D0C14D0F1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0" name="Oval 579">
                <a:extLst>
                  <a:ext uri="{FF2B5EF4-FFF2-40B4-BE49-F238E27FC236}">
                    <a16:creationId xmlns:a16="http://schemas.microsoft.com/office/drawing/2014/main" id="{03F88ADD-8457-2FB3-DC0A-8D51D5B64BB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1" name="Oval 580">
                <a:extLst>
                  <a:ext uri="{FF2B5EF4-FFF2-40B4-BE49-F238E27FC236}">
                    <a16:creationId xmlns:a16="http://schemas.microsoft.com/office/drawing/2014/main" id="{02BB8C19-16B1-8C3C-7696-815C2C5750E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2" name="Oval 581">
                <a:extLst>
                  <a:ext uri="{FF2B5EF4-FFF2-40B4-BE49-F238E27FC236}">
                    <a16:creationId xmlns:a16="http://schemas.microsoft.com/office/drawing/2014/main" id="{06490D57-32FC-700F-FC69-1E286E3A5AE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3" name="Oval 582">
                <a:extLst>
                  <a:ext uri="{FF2B5EF4-FFF2-40B4-BE49-F238E27FC236}">
                    <a16:creationId xmlns:a16="http://schemas.microsoft.com/office/drawing/2014/main" id="{80FF5274-6026-EFAA-91C7-CAAE77B7DC4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86665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5B0FF-2CD7-212B-7456-3F906AD6D14F}"/>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20BCFF63-549D-2756-1DF2-9CD83D7AC82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34B9F62C-65CB-DE1A-77CB-82A21B4D164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32" name="Picture 231">
            <a:extLst>
              <a:ext uri="{FF2B5EF4-FFF2-40B4-BE49-F238E27FC236}">
                <a16:creationId xmlns:a16="http://schemas.microsoft.com/office/drawing/2014/main" id="{7601554C-8486-4B4B-9F93-EC7FBE2F9C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2546" y="1322383"/>
            <a:ext cx="9523658" cy="4304694"/>
          </a:xfrm>
          <a:prstGeom prst="rect">
            <a:avLst/>
          </a:prstGeom>
        </p:spPr>
      </p:pic>
    </p:spTree>
    <p:extLst>
      <p:ext uri="{BB962C8B-B14F-4D97-AF65-F5344CB8AC3E}">
        <p14:creationId xmlns:p14="http://schemas.microsoft.com/office/powerpoint/2010/main" val="16571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82B5F-CE3F-5964-1BD6-5B693B1B982A}"/>
            </a:ext>
          </a:extLst>
        </p:cNvPr>
        <p:cNvGrpSpPr/>
        <p:nvPr/>
      </p:nvGrpSpPr>
      <p:grpSpPr>
        <a:xfrm>
          <a:off x="0" y="0"/>
          <a:ext cx="0" cy="0"/>
          <a:chOff x="0" y="0"/>
          <a:chExt cx="0" cy="0"/>
        </a:xfrm>
      </p:grpSpPr>
      <p:pic>
        <p:nvPicPr>
          <p:cNvPr id="47" name="Picture 46">
            <a:extLst>
              <a:ext uri="{FF2B5EF4-FFF2-40B4-BE49-F238E27FC236}">
                <a16:creationId xmlns:a16="http://schemas.microsoft.com/office/drawing/2014/main" id="{3851EFCC-9F23-8D5D-1CAD-6A4E6AC1C1B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contrast="-40000"/>
                    </a14:imgEffect>
                  </a14:imgLayer>
                </a14:imgProps>
              </a:ext>
              <a:ext uri="{28A0092B-C50C-407E-A947-70E740481C1C}">
                <a14:useLocalDpi xmlns:a14="http://schemas.microsoft.com/office/drawing/2010/main"/>
              </a:ext>
            </a:extLst>
          </a:blip>
          <a:srcRect l="11475" t="17459" r="495" b="3647"/>
          <a:stretch/>
        </p:blipFill>
        <p:spPr>
          <a:xfrm>
            <a:off x="1352048" y="1898"/>
            <a:ext cx="10839952" cy="6476710"/>
          </a:xfrm>
          <a:custGeom>
            <a:avLst/>
            <a:gdLst>
              <a:gd name="connsiteX0" fmla="*/ 13028 w 10839952"/>
              <a:gd name="connsiteY0" fmla="*/ 0 h 6476710"/>
              <a:gd name="connsiteX1" fmla="*/ 10839952 w 10839952"/>
              <a:gd name="connsiteY1" fmla="*/ 0 h 6476710"/>
              <a:gd name="connsiteX2" fmla="*/ 10839952 w 10839952"/>
              <a:gd name="connsiteY2" fmla="*/ 4207453 h 6476710"/>
              <a:gd name="connsiteX3" fmla="*/ 10799970 w 10839952"/>
              <a:gd name="connsiteY3" fmla="*/ 4258332 h 6476710"/>
              <a:gd name="connsiteX4" fmla="*/ 6096000 w 10839952"/>
              <a:gd name="connsiteY4" fmla="*/ 6476710 h 6476710"/>
              <a:gd name="connsiteX5" fmla="*/ 0 w 10839952"/>
              <a:gd name="connsiteY5" fmla="*/ 380710 h 6476710"/>
              <a:gd name="connsiteX6" fmla="*/ 7932 w 10839952"/>
              <a:gd name="connsiteY6" fmla="*/ 67011 h 6476710"/>
              <a:gd name="connsiteX7" fmla="*/ 13028 w 10839952"/>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2" h="6476710">
                <a:moveTo>
                  <a:pt x="13028" y="0"/>
                </a:moveTo>
                <a:lnTo>
                  <a:pt x="10839952" y="0"/>
                </a:lnTo>
                <a:lnTo>
                  <a:pt x="10839952" y="4207453"/>
                </a:lnTo>
                <a:lnTo>
                  <a:pt x="10799970" y="4258332"/>
                </a:lnTo>
                <a:cubicBezTo>
                  <a:pt x="9681874" y="5613152"/>
                  <a:pt x="7989784" y="6476710"/>
                  <a:pt x="6096000" y="6476710"/>
                </a:cubicBezTo>
                <a:cubicBezTo>
                  <a:pt x="2729272" y="6476710"/>
                  <a:pt x="0" y="3747438"/>
                  <a:pt x="0" y="380710"/>
                </a:cubicBezTo>
                <a:cubicBezTo>
                  <a:pt x="0" y="275500"/>
                  <a:pt x="2664" y="170912"/>
                  <a:pt x="7932" y="67011"/>
                </a:cubicBezTo>
                <a:lnTo>
                  <a:pt x="13028" y="0"/>
                </a:lnTo>
                <a:close/>
              </a:path>
            </a:pathLst>
          </a:custGeom>
        </p:spPr>
      </p:pic>
      <p:sp>
        <p:nvSpPr>
          <p:cNvPr id="2" name="Rectangle 1">
            <a:extLst>
              <a:ext uri="{FF2B5EF4-FFF2-40B4-BE49-F238E27FC236}">
                <a16:creationId xmlns:a16="http://schemas.microsoft.com/office/drawing/2014/main" id="{47191A55-7724-4E25-F694-EEA818DB2912}"/>
              </a:ext>
            </a:extLst>
          </p:cNvPr>
          <p:cNvSpPr/>
          <p:nvPr/>
        </p:nvSpPr>
        <p:spPr>
          <a:xfrm>
            <a:off x="10827" y="-8321"/>
            <a:ext cx="12181173"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Slide Number Placeholder 55">
            <a:extLst>
              <a:ext uri="{FF2B5EF4-FFF2-40B4-BE49-F238E27FC236}">
                <a16:creationId xmlns:a16="http://schemas.microsoft.com/office/drawing/2014/main" id="{ADE62B12-4C32-1D06-37E7-564C1C95120D}"/>
              </a:ext>
            </a:extLst>
          </p:cNvPr>
          <p:cNvSpPr>
            <a:spLocks noGrp="1"/>
          </p:cNvSpPr>
          <p:nvPr>
            <p:ph type="sldNum" sz="quarter" idx="12"/>
          </p:nvPr>
        </p:nvSpPr>
        <p:spPr/>
        <p:txBody>
          <a:bodyPr/>
          <a:lstStyle/>
          <a:p>
            <a:fld id="{2745C2C1-43AE-4748-AE73-76A74359E3A8}" type="slidenum">
              <a:rPr lang="en-US" smtClean="0"/>
              <a:pPr/>
              <a:t>5</a:t>
            </a:fld>
            <a:endParaRPr lang="en-US"/>
          </a:p>
        </p:txBody>
      </p:sp>
      <p:sp>
        <p:nvSpPr>
          <p:cNvPr id="12" name="Freeform: Shape 11">
            <a:extLst>
              <a:ext uri="{FF2B5EF4-FFF2-40B4-BE49-F238E27FC236}">
                <a16:creationId xmlns:a16="http://schemas.microsoft.com/office/drawing/2014/main" id="{32FBE75A-BE14-D176-D299-266742D190C1}"/>
              </a:ext>
            </a:extLst>
          </p:cNvPr>
          <p:cNvSpPr/>
          <p:nvPr/>
        </p:nvSpPr>
        <p:spPr>
          <a:xfrm rot="10800000">
            <a:off x="-2" y="4127502"/>
            <a:ext cx="4569985" cy="2730498"/>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41D97E46-6F7D-10F6-90E3-C379548C0CBA}"/>
              </a:ext>
            </a:extLst>
          </p:cNvPr>
          <p:cNvSpPr txBox="1"/>
          <p:nvPr/>
        </p:nvSpPr>
        <p:spPr>
          <a:xfrm>
            <a:off x="8591546" y="709045"/>
            <a:ext cx="2790829" cy="942694"/>
          </a:xfrm>
          <a:prstGeom prst="rect">
            <a:avLst/>
          </a:prstGeom>
          <a:noFill/>
        </p:spPr>
        <p:txBody>
          <a:bodyPr wrap="none" lIns="0" rIns="0" rtlCol="0">
            <a:spAutoFit/>
          </a:bodyPr>
          <a:lstStyle/>
          <a:p>
            <a:pPr algn="r">
              <a:lnSpc>
                <a:spcPct val="80000"/>
              </a:lnSpc>
            </a:pPr>
            <a:r>
              <a:rPr lang="id-ID" sz="2400" dirty="0">
                <a:solidFill>
                  <a:srgbClr val="168DA5"/>
                </a:solidFill>
                <a:latin typeface="Arial Black" panose="020B0A04020102020204" pitchFamily="34" charset="0"/>
              </a:rPr>
              <a:t>Table of </a:t>
            </a:r>
          </a:p>
          <a:p>
            <a:pPr algn="r">
              <a:lnSpc>
                <a:spcPct val="80000"/>
              </a:lnSpc>
            </a:pPr>
            <a:r>
              <a:rPr lang="id-ID" sz="4400" b="1" dirty="0">
                <a:solidFill>
                  <a:schemeClr val="bg1"/>
                </a:solidFill>
                <a:latin typeface="Arial Black" panose="020B0A04020102020204" pitchFamily="34" charset="0"/>
              </a:rPr>
              <a:t>Contents</a:t>
            </a:r>
            <a:endParaRPr lang="en-US" sz="4400" b="1" dirty="0">
              <a:solidFill>
                <a:schemeClr val="bg1"/>
              </a:solidFill>
              <a:latin typeface="Arial Black" panose="020B0A04020102020204" pitchFamily="34" charset="0"/>
            </a:endParaRPr>
          </a:p>
        </p:txBody>
      </p:sp>
      <p:sp>
        <p:nvSpPr>
          <p:cNvPr id="14" name="Freeform: Shape 13">
            <a:extLst>
              <a:ext uri="{FF2B5EF4-FFF2-40B4-BE49-F238E27FC236}">
                <a16:creationId xmlns:a16="http://schemas.microsoft.com/office/drawing/2014/main" id="{EA3B9EA6-59C4-F540-2699-4571FD583C05}"/>
              </a:ext>
            </a:extLst>
          </p:cNvPr>
          <p:cNvSpPr/>
          <p:nvPr/>
        </p:nvSpPr>
        <p:spPr>
          <a:xfrm rot="10800000" flipH="1">
            <a:off x="7777322" y="4091297"/>
            <a:ext cx="4630579" cy="2766702"/>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D359EDF0-2233-E847-CFF0-925EE5E90C0F}"/>
              </a:ext>
            </a:extLst>
          </p:cNvPr>
          <p:cNvSpPr/>
          <p:nvPr/>
        </p:nvSpPr>
        <p:spPr>
          <a:xfrm rot="10800000" flipH="1">
            <a:off x="7509984" y="3848098"/>
            <a:ext cx="5037617" cy="300990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B3BAF49A-6E0D-7EE2-B351-9C48FBD1EF67}"/>
              </a:ext>
            </a:extLst>
          </p:cNvPr>
          <p:cNvSpPr/>
          <p:nvPr/>
        </p:nvSpPr>
        <p:spPr>
          <a:xfrm rot="10800000" flipH="1">
            <a:off x="7200900" y="3534428"/>
            <a:ext cx="5562601" cy="3323571"/>
          </a:xfrm>
          <a:custGeom>
            <a:avLst/>
            <a:gdLst>
              <a:gd name="connsiteX0" fmla="*/ 13028 w 10839953"/>
              <a:gd name="connsiteY0" fmla="*/ 0 h 6476710"/>
              <a:gd name="connsiteX1" fmla="*/ 10839953 w 10839953"/>
              <a:gd name="connsiteY1" fmla="*/ 0 h 6476710"/>
              <a:gd name="connsiteX2" fmla="*/ 10839953 w 10839953"/>
              <a:gd name="connsiteY2" fmla="*/ 4207453 h 6476710"/>
              <a:gd name="connsiteX3" fmla="*/ 10799970 w 10839953"/>
              <a:gd name="connsiteY3" fmla="*/ 4258332 h 6476710"/>
              <a:gd name="connsiteX4" fmla="*/ 6096000 w 10839953"/>
              <a:gd name="connsiteY4" fmla="*/ 6476710 h 6476710"/>
              <a:gd name="connsiteX5" fmla="*/ 0 w 10839953"/>
              <a:gd name="connsiteY5" fmla="*/ 380710 h 6476710"/>
              <a:gd name="connsiteX6" fmla="*/ 7932 w 10839953"/>
              <a:gd name="connsiteY6" fmla="*/ 67011 h 6476710"/>
              <a:gd name="connsiteX7" fmla="*/ 13028 w 10839953"/>
              <a:gd name="connsiteY7" fmla="*/ 0 h 647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953" h="6476710">
                <a:moveTo>
                  <a:pt x="13028" y="0"/>
                </a:moveTo>
                <a:lnTo>
                  <a:pt x="10839953" y="0"/>
                </a:lnTo>
                <a:lnTo>
                  <a:pt x="10839953" y="4207453"/>
                </a:lnTo>
                <a:lnTo>
                  <a:pt x="10799970" y="4258332"/>
                </a:lnTo>
                <a:cubicBezTo>
                  <a:pt x="9681874" y="5613152"/>
                  <a:pt x="7989785" y="6476710"/>
                  <a:pt x="6096000" y="6476710"/>
                </a:cubicBezTo>
                <a:cubicBezTo>
                  <a:pt x="2729272" y="6476710"/>
                  <a:pt x="0" y="3747438"/>
                  <a:pt x="0" y="380710"/>
                </a:cubicBezTo>
                <a:cubicBezTo>
                  <a:pt x="0" y="275500"/>
                  <a:pt x="2665" y="170912"/>
                  <a:pt x="7932" y="67011"/>
                </a:cubicBezTo>
                <a:lnTo>
                  <a:pt x="13028" y="0"/>
                </a:lnTo>
                <a:close/>
              </a:path>
            </a:pathLst>
          </a:custGeom>
          <a:no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hlinkClick r:id="rId5" action="ppaction://hlinksldjump"/>
            <a:extLst>
              <a:ext uri="{FF2B5EF4-FFF2-40B4-BE49-F238E27FC236}">
                <a16:creationId xmlns:a16="http://schemas.microsoft.com/office/drawing/2014/main" id="{A3928CFC-EC20-857D-617C-29B905E85CF3}"/>
              </a:ext>
            </a:extLst>
          </p:cNvPr>
          <p:cNvSpPr/>
          <p:nvPr/>
        </p:nvSpPr>
        <p:spPr>
          <a:xfrm>
            <a:off x="3521515"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hlinkClick r:id="rId6" action="ppaction://hlinksldjump"/>
            <a:extLst>
              <a:ext uri="{FF2B5EF4-FFF2-40B4-BE49-F238E27FC236}">
                <a16:creationId xmlns:a16="http://schemas.microsoft.com/office/drawing/2014/main" id="{E88F2052-3CAC-EF6B-88CB-0AC4672D785E}"/>
              </a:ext>
            </a:extLst>
          </p:cNvPr>
          <p:cNvSpPr/>
          <p:nvPr/>
        </p:nvSpPr>
        <p:spPr>
          <a:xfrm>
            <a:off x="6233406"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5670C084-1E23-7C5D-1DF5-90515D7192A0}"/>
              </a:ext>
            </a:extLst>
          </p:cNvPr>
          <p:cNvSpPr txBox="1"/>
          <p:nvPr/>
        </p:nvSpPr>
        <p:spPr>
          <a:xfrm>
            <a:off x="3788922" y="2789182"/>
            <a:ext cx="1902265"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sz="4400" dirty="0">
                <a:solidFill>
                  <a:srgbClr val="168DA5"/>
                </a:solidFill>
              </a:rPr>
              <a:t>10</a:t>
            </a:r>
            <a:r>
              <a:rPr lang="id-ID" sz="4400" dirty="0">
                <a:solidFill>
                  <a:srgbClr val="168DA5"/>
                </a:solidFill>
              </a:rPr>
              <a:t>.</a:t>
            </a:r>
            <a:endParaRPr lang="en-US" sz="4400" dirty="0">
              <a:solidFill>
                <a:srgbClr val="168DA5"/>
              </a:solidFill>
            </a:endParaRPr>
          </a:p>
        </p:txBody>
      </p:sp>
      <p:sp>
        <p:nvSpPr>
          <p:cNvPr id="34" name="TextBox 33">
            <a:extLst>
              <a:ext uri="{FF2B5EF4-FFF2-40B4-BE49-F238E27FC236}">
                <a16:creationId xmlns:a16="http://schemas.microsoft.com/office/drawing/2014/main" id="{99256124-DDD6-8DE6-DABA-F2A1FA28B24D}"/>
              </a:ext>
            </a:extLst>
          </p:cNvPr>
          <p:cNvSpPr txBox="1"/>
          <p:nvPr/>
        </p:nvSpPr>
        <p:spPr>
          <a:xfrm>
            <a:off x="6500813" y="2789182"/>
            <a:ext cx="1902264" cy="769441"/>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sz="4400" dirty="0">
                <a:solidFill>
                  <a:srgbClr val="168DA5"/>
                </a:solidFill>
              </a:rPr>
              <a:t>11</a:t>
            </a:r>
            <a:r>
              <a:rPr lang="id-ID" sz="4400" dirty="0">
                <a:solidFill>
                  <a:srgbClr val="168DA5"/>
                </a:solidFill>
              </a:rPr>
              <a:t>.</a:t>
            </a:r>
            <a:endParaRPr lang="en-US" sz="4400" dirty="0">
              <a:solidFill>
                <a:srgbClr val="168DA5"/>
              </a:solidFill>
            </a:endParaRPr>
          </a:p>
        </p:txBody>
      </p:sp>
      <p:sp>
        <p:nvSpPr>
          <p:cNvPr id="38" name="TextBox 37">
            <a:extLst>
              <a:ext uri="{FF2B5EF4-FFF2-40B4-BE49-F238E27FC236}">
                <a16:creationId xmlns:a16="http://schemas.microsoft.com/office/drawing/2014/main" id="{F21F6855-83C0-C939-C8E5-4C45BE8D2122}"/>
              </a:ext>
            </a:extLst>
          </p:cNvPr>
          <p:cNvSpPr txBox="1"/>
          <p:nvPr/>
        </p:nvSpPr>
        <p:spPr>
          <a:xfrm>
            <a:off x="3721475" y="3981855"/>
            <a:ext cx="2028332" cy="1600438"/>
          </a:xfrm>
          <a:prstGeom prst="rect">
            <a:avLst/>
          </a:prstGeom>
          <a:noFill/>
        </p:spPr>
        <p:txBody>
          <a:bodyPr wrap="square" lIns="0" rIns="0" rtlCol="0">
            <a:spAutoFit/>
          </a:bodyPr>
          <a:lstStyle/>
          <a:p>
            <a:r>
              <a:rPr lang="en-US" sz="1400" dirty="0">
                <a:solidFill>
                  <a:schemeClr val="bg1">
                    <a:lumMod val="50000"/>
                  </a:schemeClr>
                </a:solidFill>
                <a:latin typeface="Söhne"/>
              </a:rPr>
              <a:t>A comprehensive summary of the study's findings, drawn from diverse sources such as research papers, YouTube, and Google, providing a holistic understanding of the topic.</a:t>
            </a:r>
            <a:endParaRPr lang="id-ID" sz="1400" dirty="0">
              <a:solidFill>
                <a:schemeClr val="bg1">
                  <a:lumMod val="50000"/>
                </a:schemeClr>
              </a:solidFill>
              <a:latin typeface="Söhne"/>
            </a:endParaRPr>
          </a:p>
        </p:txBody>
      </p:sp>
      <p:sp>
        <p:nvSpPr>
          <p:cNvPr id="39" name="TextBox 38">
            <a:extLst>
              <a:ext uri="{FF2B5EF4-FFF2-40B4-BE49-F238E27FC236}">
                <a16:creationId xmlns:a16="http://schemas.microsoft.com/office/drawing/2014/main" id="{255AED11-0552-5DD0-18FB-D646B799F51D}"/>
              </a:ext>
            </a:extLst>
          </p:cNvPr>
          <p:cNvSpPr txBox="1"/>
          <p:nvPr/>
        </p:nvSpPr>
        <p:spPr>
          <a:xfrm>
            <a:off x="6500813" y="3981855"/>
            <a:ext cx="1902265" cy="1384995"/>
          </a:xfrm>
          <a:prstGeom prst="rect">
            <a:avLst/>
          </a:prstGeom>
          <a:noFill/>
        </p:spPr>
        <p:txBody>
          <a:bodyPr wrap="square" lIns="0" rIns="0" rtlCol="0">
            <a:spAutoFit/>
          </a:bodyPr>
          <a:lstStyle/>
          <a:p>
            <a:r>
              <a:rPr lang="en-US" sz="1400" dirty="0">
                <a:solidFill>
                  <a:schemeClr val="bg1">
                    <a:lumMod val="50000"/>
                  </a:schemeClr>
                </a:solidFill>
                <a:latin typeface="Söhne"/>
              </a:rPr>
              <a:t>We have acquired knowledge on the subject by consulting various sources, including research papers, YouTube, and Google.</a:t>
            </a:r>
            <a:endParaRPr lang="id-ID" sz="1400" dirty="0">
              <a:solidFill>
                <a:schemeClr val="bg1">
                  <a:lumMod val="50000"/>
                </a:schemeClr>
              </a:solidFill>
              <a:latin typeface="Söhne"/>
            </a:endParaRPr>
          </a:p>
        </p:txBody>
      </p:sp>
      <p:sp>
        <p:nvSpPr>
          <p:cNvPr id="42" name="TextBox 41">
            <a:extLst>
              <a:ext uri="{FF2B5EF4-FFF2-40B4-BE49-F238E27FC236}">
                <a16:creationId xmlns:a16="http://schemas.microsoft.com/office/drawing/2014/main" id="{5BFB650B-E8BF-6505-ED77-D184E79FA565}"/>
              </a:ext>
            </a:extLst>
          </p:cNvPr>
          <p:cNvSpPr txBox="1"/>
          <p:nvPr/>
        </p:nvSpPr>
        <p:spPr>
          <a:xfrm>
            <a:off x="3788922" y="3576484"/>
            <a:ext cx="2122282" cy="400110"/>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Conclusion</a:t>
            </a:r>
          </a:p>
        </p:txBody>
      </p:sp>
      <p:sp>
        <p:nvSpPr>
          <p:cNvPr id="43" name="TextBox 42">
            <a:extLst>
              <a:ext uri="{FF2B5EF4-FFF2-40B4-BE49-F238E27FC236}">
                <a16:creationId xmlns:a16="http://schemas.microsoft.com/office/drawing/2014/main" id="{C40882A5-D018-F1B2-9198-9A71459354CD}"/>
              </a:ext>
            </a:extLst>
          </p:cNvPr>
          <p:cNvSpPr txBox="1"/>
          <p:nvPr/>
        </p:nvSpPr>
        <p:spPr>
          <a:xfrm>
            <a:off x="6500813" y="3576484"/>
            <a:ext cx="1902264" cy="400110"/>
          </a:xfrm>
          <a:prstGeom prst="rect">
            <a:avLst/>
          </a:prstGeom>
          <a:noFill/>
        </p:spPr>
        <p:txBody>
          <a:bodyPr wrap="square" lIns="0" rIns="0" rtlCol="0">
            <a:spAutoFit/>
          </a:bodyPr>
          <a:lstStyle>
            <a:defPPr>
              <a:defRPr lang="en-US"/>
            </a:defPPr>
            <a:lvl1pPr>
              <a:defRPr sz="2000" b="1">
                <a:solidFill>
                  <a:schemeClr val="bg1"/>
                </a:solidFill>
              </a:defRPr>
            </a:lvl1pPr>
          </a:lstStyle>
          <a:p>
            <a:r>
              <a:rPr lang="en-US" dirty="0">
                <a:solidFill>
                  <a:schemeClr val="tx1"/>
                </a:solidFill>
              </a:rPr>
              <a:t>References</a:t>
            </a:r>
          </a:p>
        </p:txBody>
      </p:sp>
      <p:cxnSp>
        <p:nvCxnSpPr>
          <p:cNvPr id="46" name="Straight Connector 45">
            <a:extLst>
              <a:ext uri="{FF2B5EF4-FFF2-40B4-BE49-F238E27FC236}">
                <a16:creationId xmlns:a16="http://schemas.microsoft.com/office/drawing/2014/main" id="{A398EC61-CAC6-E3FF-9061-C7AF914C3A75}"/>
              </a:ext>
            </a:extLst>
          </p:cNvPr>
          <p:cNvCxnSpPr>
            <a:cxnSpLocks/>
          </p:cNvCxnSpPr>
          <p:nvPr/>
        </p:nvCxnSpPr>
        <p:spPr>
          <a:xfrm>
            <a:off x="5531291"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CB37B45-7B2B-4D43-CBF1-F092BCC4E227}"/>
              </a:ext>
            </a:extLst>
          </p:cNvPr>
          <p:cNvCxnSpPr>
            <a:cxnSpLocks/>
          </p:cNvCxnSpPr>
          <p:nvPr/>
        </p:nvCxnSpPr>
        <p:spPr>
          <a:xfrm>
            <a:off x="8243182"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8A06FE7-2DA4-3BB6-3DFF-6477A4123658}"/>
              </a:ext>
            </a:extLst>
          </p:cNvPr>
          <p:cNvCxnSpPr>
            <a:cxnSpLocks/>
          </p:cNvCxnSpPr>
          <p:nvPr/>
        </p:nvCxnSpPr>
        <p:spPr>
          <a:xfrm>
            <a:off x="10244515" y="1752600"/>
            <a:ext cx="1099053"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8DCA2F0-2B9F-8234-78AC-3999A4B389FC}"/>
              </a:ext>
            </a:extLst>
          </p:cNvPr>
          <p:cNvGrpSpPr/>
          <p:nvPr/>
        </p:nvGrpSpPr>
        <p:grpSpPr>
          <a:xfrm flipH="1" flipV="1">
            <a:off x="131620" y="221502"/>
            <a:ext cx="1729654" cy="848268"/>
            <a:chOff x="233739" y="283295"/>
            <a:chExt cx="1729654" cy="848268"/>
          </a:xfrm>
          <a:gradFill>
            <a:gsLst>
              <a:gs pos="100000">
                <a:schemeClr val="accent5"/>
              </a:gs>
              <a:gs pos="0">
                <a:schemeClr val="tx1">
                  <a:alpha val="0"/>
                </a:schemeClr>
              </a:gs>
            </a:gsLst>
            <a:lin ang="0" scaled="1"/>
          </a:gradFill>
        </p:grpSpPr>
        <p:grpSp>
          <p:nvGrpSpPr>
            <p:cNvPr id="64" name="Group 63">
              <a:extLst>
                <a:ext uri="{FF2B5EF4-FFF2-40B4-BE49-F238E27FC236}">
                  <a16:creationId xmlns:a16="http://schemas.microsoft.com/office/drawing/2014/main" id="{0176213E-0856-FFAF-8DE8-D6CB67BA324A}"/>
                </a:ext>
              </a:extLst>
            </p:cNvPr>
            <p:cNvGrpSpPr/>
            <p:nvPr/>
          </p:nvGrpSpPr>
          <p:grpSpPr>
            <a:xfrm rot="5400000">
              <a:off x="1055270" y="-538236"/>
              <a:ext cx="86591" cy="1729654"/>
              <a:chOff x="85292" y="59892"/>
              <a:chExt cx="86591" cy="1729654"/>
            </a:xfrm>
            <a:grpFill/>
          </p:grpSpPr>
          <p:sp>
            <p:nvSpPr>
              <p:cNvPr id="98" name="Oval 97">
                <a:extLst>
                  <a:ext uri="{FF2B5EF4-FFF2-40B4-BE49-F238E27FC236}">
                    <a16:creationId xmlns:a16="http://schemas.microsoft.com/office/drawing/2014/main" id="{1ABA14FA-9822-DFF3-5EBD-2E3D89B0567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019E63E-7423-C09B-EAFA-BD061CF043D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62BF0859-D7A7-FD50-26D7-3B1C806F8E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9A4D56B1-3AA3-B2C0-5654-E39A5CB86DB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2FFD943B-1704-2BC6-B811-2CD057DAE2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F6E2301C-7C07-4D24-B7B2-54F279E09B6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5B893F6D-9266-EEBE-7604-33B5CC5C4DA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59901647-1768-2ECF-1F31-AF20B22ED62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E8DDD1DF-BFF6-5CE1-3DE1-2AB1ACB5BD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4365EA68-4889-90FC-E79C-68628615E96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85C122B0-6194-0C82-A815-C1DE5938F6C2}"/>
                </a:ext>
              </a:extLst>
            </p:cNvPr>
            <p:cNvGrpSpPr/>
            <p:nvPr/>
          </p:nvGrpSpPr>
          <p:grpSpPr>
            <a:xfrm rot="5400000">
              <a:off x="1055270" y="-284344"/>
              <a:ext cx="86591" cy="1729654"/>
              <a:chOff x="85292" y="59892"/>
              <a:chExt cx="86591" cy="1729654"/>
            </a:xfrm>
            <a:grpFill/>
          </p:grpSpPr>
          <p:sp>
            <p:nvSpPr>
              <p:cNvPr id="88" name="Oval 87">
                <a:extLst>
                  <a:ext uri="{FF2B5EF4-FFF2-40B4-BE49-F238E27FC236}">
                    <a16:creationId xmlns:a16="http://schemas.microsoft.com/office/drawing/2014/main" id="{091648F9-4830-12E2-CFDF-048F69EB355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FDF08CC1-074D-1362-6623-495C14B215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844B9DDF-6D5D-CD27-CE89-54E9468857B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13060437-C093-68CD-3675-90971B86626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44EBCCD-46F1-E1DA-3A28-00265B9915B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4F837BBC-4A80-BC3E-0EE2-82075AD64E6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8C568143-A3E0-7A32-2D4A-28F06B1B3E2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F09856A4-DC67-B0F9-476F-95F8CAA7BD3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1539A873-1E36-C462-9302-17BD80AD682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954D8E26-34E7-F8EE-1B89-42FAFFE50E7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9C95D4EB-6A13-7E80-46CF-9ADA76F56F0A}"/>
                </a:ext>
              </a:extLst>
            </p:cNvPr>
            <p:cNvGrpSpPr/>
            <p:nvPr/>
          </p:nvGrpSpPr>
          <p:grpSpPr>
            <a:xfrm rot="5400000">
              <a:off x="1055270" y="-30452"/>
              <a:ext cx="86591" cy="1729654"/>
              <a:chOff x="85292" y="59892"/>
              <a:chExt cx="86591" cy="1729654"/>
            </a:xfrm>
            <a:grpFill/>
          </p:grpSpPr>
          <p:sp>
            <p:nvSpPr>
              <p:cNvPr id="78" name="Oval 77">
                <a:extLst>
                  <a:ext uri="{FF2B5EF4-FFF2-40B4-BE49-F238E27FC236}">
                    <a16:creationId xmlns:a16="http://schemas.microsoft.com/office/drawing/2014/main" id="{6FF01CFE-6A5A-8C93-53A8-99BE0946734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B88D13CB-6048-EE28-62BC-EC39C8BA1F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4DCCDCEF-FADD-578C-03ED-B683FFA028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E9495336-C35D-8C79-FA02-6B35A297B6F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09DE6DA3-80EA-EC5E-1DDE-08346697982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212A237F-30B9-2E97-FA49-A220F357B1F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36E64EC-49E7-470F-6366-86FD36B2DB5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51F4292F-9B3D-74D5-E1AA-9355B8BCCBF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1FF9F9BF-D491-9EFF-8137-EBB8AFC9EE1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B796EF97-4A44-EEAD-62A8-44DDC190009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a:extLst>
                <a:ext uri="{FF2B5EF4-FFF2-40B4-BE49-F238E27FC236}">
                  <a16:creationId xmlns:a16="http://schemas.microsoft.com/office/drawing/2014/main" id="{01C8F4CE-5273-E53B-2D25-F9802CD9EA8D}"/>
                </a:ext>
              </a:extLst>
            </p:cNvPr>
            <p:cNvGrpSpPr/>
            <p:nvPr/>
          </p:nvGrpSpPr>
          <p:grpSpPr>
            <a:xfrm rot="5400000">
              <a:off x="1055270" y="223441"/>
              <a:ext cx="86591" cy="1729654"/>
              <a:chOff x="85292" y="59892"/>
              <a:chExt cx="86591" cy="1729654"/>
            </a:xfrm>
            <a:grpFill/>
          </p:grpSpPr>
          <p:sp>
            <p:nvSpPr>
              <p:cNvPr id="68" name="Oval 67">
                <a:extLst>
                  <a:ext uri="{FF2B5EF4-FFF2-40B4-BE49-F238E27FC236}">
                    <a16:creationId xmlns:a16="http://schemas.microsoft.com/office/drawing/2014/main" id="{F4C66604-DE3F-5624-9F3C-E591FA3AAE1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DD3A09E3-2FB1-EE0E-129A-63FBB0E42FF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EE775008-5CD8-E801-6B60-E6E15FE9CBC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9031ED0E-81D6-5117-CD46-7B64B36E597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BF04DA11-4ACC-2470-A3F3-D7DAD856584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CD9CD64C-289C-3053-B468-7D522455432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4C8ADC6-1D83-7989-1A08-471F3CEA1C8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0B0B283C-8BF8-6FC5-0D9C-8999F463B1F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272F5556-DD65-EB0A-1E6F-0A7B6464F93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6DCF49E5-7C7A-54EE-4979-C20948EC427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8" name="Group 107">
            <a:extLst>
              <a:ext uri="{FF2B5EF4-FFF2-40B4-BE49-F238E27FC236}">
                <a16:creationId xmlns:a16="http://schemas.microsoft.com/office/drawing/2014/main" id="{62CFF4DB-D0A8-BAE2-234B-656465EC66AB}"/>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09" name="Group 108">
              <a:extLst>
                <a:ext uri="{FF2B5EF4-FFF2-40B4-BE49-F238E27FC236}">
                  <a16:creationId xmlns:a16="http://schemas.microsoft.com/office/drawing/2014/main" id="{66846BB6-E805-A03E-1FD1-F2521C7A6939}"/>
                </a:ext>
              </a:extLst>
            </p:cNvPr>
            <p:cNvGrpSpPr/>
            <p:nvPr/>
          </p:nvGrpSpPr>
          <p:grpSpPr>
            <a:xfrm rot="5400000">
              <a:off x="1055270" y="-538236"/>
              <a:ext cx="86591" cy="1729654"/>
              <a:chOff x="85292" y="59892"/>
              <a:chExt cx="86591" cy="1729654"/>
            </a:xfrm>
            <a:grpFill/>
          </p:grpSpPr>
          <p:sp>
            <p:nvSpPr>
              <p:cNvPr id="143" name="Oval 142">
                <a:extLst>
                  <a:ext uri="{FF2B5EF4-FFF2-40B4-BE49-F238E27FC236}">
                    <a16:creationId xmlns:a16="http://schemas.microsoft.com/office/drawing/2014/main" id="{AECB3ABD-8D52-2166-AEB2-629B23BEE97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id="{06156F87-7A46-DB99-2E07-0B7AA5CDC0B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id="{7647EB40-DE4F-0EAD-91B7-C036D7F3B4A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id="{AEBB8850-28D7-6AD5-3916-889D3F019C5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id="{850A34E4-6D6B-41C2-1BBD-5C1B4E38834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74BCD47D-4972-BA38-6148-5A9EE97B1AF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id="{E1F0EFB0-8053-9419-2B9E-A4C97EF5EF3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23319454-6D5C-3487-EC0F-D92FE7B7BF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B16B41EC-BD09-9B15-C16B-41E6151F585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id="{F3D0206E-63F0-D277-88AF-A56C5ADEC9A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70EEF927-26D7-A51B-F6D3-75C3B93AF76C}"/>
                </a:ext>
              </a:extLst>
            </p:cNvPr>
            <p:cNvGrpSpPr/>
            <p:nvPr/>
          </p:nvGrpSpPr>
          <p:grpSpPr>
            <a:xfrm rot="5400000">
              <a:off x="1055270" y="-284344"/>
              <a:ext cx="86591" cy="1729654"/>
              <a:chOff x="85292" y="59892"/>
              <a:chExt cx="86591" cy="1729654"/>
            </a:xfrm>
            <a:grpFill/>
          </p:grpSpPr>
          <p:sp>
            <p:nvSpPr>
              <p:cNvPr id="133" name="Oval 132">
                <a:extLst>
                  <a:ext uri="{FF2B5EF4-FFF2-40B4-BE49-F238E27FC236}">
                    <a16:creationId xmlns:a16="http://schemas.microsoft.com/office/drawing/2014/main" id="{1E122E4D-F2DB-6573-2F0F-73763975B20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a16="http://schemas.microsoft.com/office/drawing/2014/main" id="{ED924F9D-3CAC-9BC6-4F59-44CE5527D8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5FEE8787-A185-6461-EF10-1A31484A690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id="{93989611-25B7-3E8A-1DEE-95CC8FD292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a16="http://schemas.microsoft.com/office/drawing/2014/main" id="{2821ED4A-C8E3-3DAD-5AFD-44282266A39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984A9888-D02A-4893-B409-C2A4508ABA1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F0014792-C6D2-B5F0-5E88-3ECE49043B9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BA95BF25-6576-4A93-E818-67AF5E81AEA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id="{102E0BA8-3D75-D8A5-5A66-8D4A6816261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id="{E7656594-43FD-974E-ACD4-11CFE35F98F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615085F7-6AAE-4151-F3D1-ED73B2426044}"/>
                </a:ext>
              </a:extLst>
            </p:cNvPr>
            <p:cNvGrpSpPr/>
            <p:nvPr/>
          </p:nvGrpSpPr>
          <p:grpSpPr>
            <a:xfrm rot="5400000">
              <a:off x="1055270" y="-30452"/>
              <a:ext cx="86591" cy="1729654"/>
              <a:chOff x="85292" y="59892"/>
              <a:chExt cx="86591" cy="1729654"/>
            </a:xfrm>
            <a:grpFill/>
          </p:grpSpPr>
          <p:sp>
            <p:nvSpPr>
              <p:cNvPr id="123" name="Oval 122">
                <a:extLst>
                  <a:ext uri="{FF2B5EF4-FFF2-40B4-BE49-F238E27FC236}">
                    <a16:creationId xmlns:a16="http://schemas.microsoft.com/office/drawing/2014/main" id="{5E476103-A8B3-EB36-A1EF-D0E918DD97A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601F9D1D-FCCF-223A-48EA-59712604409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8D8A62B3-4DD8-1C59-C301-F53CC0F2160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05BDF3F6-FE8D-70C1-85D5-6F64C602DB9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7B9C9E2A-785C-6B99-2059-2E104B087F9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548877F8-C510-262D-F0F0-DEC3BE94D32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9CD4DE5C-49C6-A738-2C0C-A8538DEA6FF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id="{7D52D2F4-B031-ABB6-7308-D968C887B97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id="{17639ED6-4F59-B4B6-0CAD-E26B98346E0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a16="http://schemas.microsoft.com/office/drawing/2014/main" id="{B18E2555-7A75-ED6C-5529-61E030411D4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F0218109-172A-36A7-379A-1048F42E1B7D}"/>
                </a:ext>
              </a:extLst>
            </p:cNvPr>
            <p:cNvGrpSpPr/>
            <p:nvPr/>
          </p:nvGrpSpPr>
          <p:grpSpPr>
            <a:xfrm rot="5400000">
              <a:off x="1055270" y="223441"/>
              <a:ext cx="86591" cy="1729654"/>
              <a:chOff x="85292" y="59892"/>
              <a:chExt cx="86591" cy="1729654"/>
            </a:xfrm>
            <a:grpFill/>
          </p:grpSpPr>
          <p:sp>
            <p:nvSpPr>
              <p:cNvPr id="113" name="Oval 112">
                <a:extLst>
                  <a:ext uri="{FF2B5EF4-FFF2-40B4-BE49-F238E27FC236}">
                    <a16:creationId xmlns:a16="http://schemas.microsoft.com/office/drawing/2014/main" id="{4C0CDF5F-9124-54C1-4A74-01838EF48BE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2FE1D640-1DAC-C17F-706D-6C0D22208E2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CEBDE44A-EB56-DDC9-DC96-03490F1C805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57E1C8F8-5C48-B24C-43E4-359040683E1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F222FC1B-0B0A-0111-739E-C8D09769ADB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D45455CE-D182-CDF6-762D-53C236E115C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E1FB0E05-85C1-C4DA-BAAE-FF821E9DB5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EDB3C3E7-BB83-583C-B7FE-8C63408FAA7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B4B7DEE5-328A-165E-C5D0-C0A058E96C1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3A64184A-0E94-B121-06B4-2A2E6C895AD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3" name="Group 242">
            <a:extLst>
              <a:ext uri="{FF2B5EF4-FFF2-40B4-BE49-F238E27FC236}">
                <a16:creationId xmlns:a16="http://schemas.microsoft.com/office/drawing/2014/main" id="{69BDD4A6-88D5-A0EA-CFBD-5253280A901A}"/>
              </a:ext>
            </a:extLst>
          </p:cNvPr>
          <p:cNvGrpSpPr/>
          <p:nvPr/>
        </p:nvGrpSpPr>
        <p:grpSpPr>
          <a:xfrm rot="16200000" flipV="1">
            <a:off x="363654" y="5736340"/>
            <a:ext cx="1729654" cy="848268"/>
            <a:chOff x="233739" y="283295"/>
            <a:chExt cx="1729654" cy="848268"/>
          </a:xfrm>
          <a:gradFill>
            <a:gsLst>
              <a:gs pos="0">
                <a:schemeClr val="accent5"/>
              </a:gs>
              <a:gs pos="100000">
                <a:schemeClr val="tx1">
                  <a:alpha val="0"/>
                </a:schemeClr>
              </a:gs>
            </a:gsLst>
            <a:lin ang="0" scaled="1"/>
          </a:gradFill>
        </p:grpSpPr>
        <p:grpSp>
          <p:nvGrpSpPr>
            <p:cNvPr id="244" name="Group 243">
              <a:extLst>
                <a:ext uri="{FF2B5EF4-FFF2-40B4-BE49-F238E27FC236}">
                  <a16:creationId xmlns:a16="http://schemas.microsoft.com/office/drawing/2014/main" id="{BD29E598-1F0A-4536-FF83-2665B0C4EEA6}"/>
                </a:ext>
              </a:extLst>
            </p:cNvPr>
            <p:cNvGrpSpPr/>
            <p:nvPr/>
          </p:nvGrpSpPr>
          <p:grpSpPr>
            <a:xfrm rot="5400000">
              <a:off x="1055270" y="-538236"/>
              <a:ext cx="86591" cy="1729654"/>
              <a:chOff x="85292" y="59892"/>
              <a:chExt cx="86591" cy="1729654"/>
            </a:xfrm>
            <a:grpFill/>
          </p:grpSpPr>
          <p:sp>
            <p:nvSpPr>
              <p:cNvPr id="278" name="Oval 277">
                <a:extLst>
                  <a:ext uri="{FF2B5EF4-FFF2-40B4-BE49-F238E27FC236}">
                    <a16:creationId xmlns:a16="http://schemas.microsoft.com/office/drawing/2014/main" id="{3FEBB4AA-CE1F-A1C0-E7A8-459A249F16A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1C2A6F43-B516-4D91-E774-04056FF60E1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E5F4BD08-2E72-6F36-CFDB-D86A616A8F7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43FDB2C3-B8AB-507F-49C1-F34D9036E6C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9CBDF0A5-968E-A73E-92D1-060416803DB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161D0A2C-6357-953F-4678-F52C044A1F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720561BA-CCA2-DB69-6F08-D51550D8E7F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Oval 284">
                <a:extLst>
                  <a:ext uri="{FF2B5EF4-FFF2-40B4-BE49-F238E27FC236}">
                    <a16:creationId xmlns:a16="http://schemas.microsoft.com/office/drawing/2014/main" id="{4346DF98-A55A-5E89-7C7C-35DDF86E791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14479022-52FA-1A2B-B602-7734E3A5C6A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8CF209BF-C105-E915-2F4A-0A277F48E76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5" name="Group 244">
              <a:extLst>
                <a:ext uri="{FF2B5EF4-FFF2-40B4-BE49-F238E27FC236}">
                  <a16:creationId xmlns:a16="http://schemas.microsoft.com/office/drawing/2014/main" id="{2426C2C4-F0E0-01A7-005E-F577B4CEEDD2}"/>
                </a:ext>
              </a:extLst>
            </p:cNvPr>
            <p:cNvGrpSpPr/>
            <p:nvPr/>
          </p:nvGrpSpPr>
          <p:grpSpPr>
            <a:xfrm rot="5400000">
              <a:off x="1055270" y="-284344"/>
              <a:ext cx="86591" cy="1729654"/>
              <a:chOff x="85292" y="59892"/>
              <a:chExt cx="86591" cy="1729654"/>
            </a:xfrm>
            <a:grpFill/>
          </p:grpSpPr>
          <p:sp>
            <p:nvSpPr>
              <p:cNvPr id="268" name="Oval 267">
                <a:extLst>
                  <a:ext uri="{FF2B5EF4-FFF2-40B4-BE49-F238E27FC236}">
                    <a16:creationId xmlns:a16="http://schemas.microsoft.com/office/drawing/2014/main" id="{BEF3393D-AC99-E01E-6FB5-4142DA0DA4E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BF51C80E-2202-AC05-A9BC-BCD2C9364D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4738281B-3F0B-52E9-85CC-ABFF4106535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E8160AB4-9697-32DB-3F87-319BE2C92BE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F30BA5C8-6331-501E-DE13-219E6C7C1F0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3A869BA1-021E-221B-9E05-F03F554481D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ACCA54D2-A050-9A84-5B3C-4EB9744FDFE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Oval 274">
                <a:extLst>
                  <a:ext uri="{FF2B5EF4-FFF2-40B4-BE49-F238E27FC236}">
                    <a16:creationId xmlns:a16="http://schemas.microsoft.com/office/drawing/2014/main" id="{52DD5813-ADD3-F85E-CC74-9BDD3A83539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66327FC1-6D43-BBDA-F3C1-04F289955DC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1698687B-F04A-0A23-3829-C631A247AB1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a:extLst>
                <a:ext uri="{FF2B5EF4-FFF2-40B4-BE49-F238E27FC236}">
                  <a16:creationId xmlns:a16="http://schemas.microsoft.com/office/drawing/2014/main" id="{A65F2525-453D-728C-63FB-B9EBC98CDB2F}"/>
                </a:ext>
              </a:extLst>
            </p:cNvPr>
            <p:cNvGrpSpPr/>
            <p:nvPr/>
          </p:nvGrpSpPr>
          <p:grpSpPr>
            <a:xfrm rot="5400000">
              <a:off x="1055270" y="-30452"/>
              <a:ext cx="86591" cy="1729654"/>
              <a:chOff x="85292" y="59892"/>
              <a:chExt cx="86591" cy="1729654"/>
            </a:xfrm>
            <a:grpFill/>
          </p:grpSpPr>
          <p:sp>
            <p:nvSpPr>
              <p:cNvPr id="258" name="Oval 257">
                <a:extLst>
                  <a:ext uri="{FF2B5EF4-FFF2-40B4-BE49-F238E27FC236}">
                    <a16:creationId xmlns:a16="http://schemas.microsoft.com/office/drawing/2014/main" id="{0F3CA09D-2242-1325-F86F-99D32411498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52889C77-6144-BB46-BB92-48F7498EC08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379147D8-61E1-DAAA-3794-EEC6B681D52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F4A4B306-EA7A-7513-A6A3-27D524EE9F7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6022EBF4-4DB5-073A-E0E3-DBC4F7A418B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Oval 262">
                <a:extLst>
                  <a:ext uri="{FF2B5EF4-FFF2-40B4-BE49-F238E27FC236}">
                    <a16:creationId xmlns:a16="http://schemas.microsoft.com/office/drawing/2014/main" id="{07CF2D79-18A8-59B7-388B-CE5F06143B0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a:extLst>
                  <a:ext uri="{FF2B5EF4-FFF2-40B4-BE49-F238E27FC236}">
                    <a16:creationId xmlns:a16="http://schemas.microsoft.com/office/drawing/2014/main" id="{34228A56-2057-FE13-40B8-2118ECC33B3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5DA8B9E1-0E8B-3E17-20C6-AB3A7F2C9A2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DFE43C40-1FD9-4654-FDA4-75AA8F40E61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F46B4D3E-321D-5C43-45C3-5530284A28C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a:extLst>
                <a:ext uri="{FF2B5EF4-FFF2-40B4-BE49-F238E27FC236}">
                  <a16:creationId xmlns:a16="http://schemas.microsoft.com/office/drawing/2014/main" id="{CFEEDAD3-1120-569F-F0E5-79794980AB93}"/>
                </a:ext>
              </a:extLst>
            </p:cNvPr>
            <p:cNvGrpSpPr/>
            <p:nvPr/>
          </p:nvGrpSpPr>
          <p:grpSpPr>
            <a:xfrm rot="5400000">
              <a:off x="1055270" y="223441"/>
              <a:ext cx="86591" cy="1729654"/>
              <a:chOff x="85292" y="59892"/>
              <a:chExt cx="86591" cy="1729654"/>
            </a:xfrm>
            <a:grpFill/>
          </p:grpSpPr>
          <p:sp>
            <p:nvSpPr>
              <p:cNvPr id="248" name="Oval 247">
                <a:extLst>
                  <a:ext uri="{FF2B5EF4-FFF2-40B4-BE49-F238E27FC236}">
                    <a16:creationId xmlns:a16="http://schemas.microsoft.com/office/drawing/2014/main" id="{D242ACEC-0045-5B6C-CFFB-28C2A0BF046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8DC4BBCB-102E-11EE-C98F-C26B288D7A3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Oval 249">
                <a:extLst>
                  <a:ext uri="{FF2B5EF4-FFF2-40B4-BE49-F238E27FC236}">
                    <a16:creationId xmlns:a16="http://schemas.microsoft.com/office/drawing/2014/main" id="{40530C77-FB0D-BD33-0748-F567EFADFC4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14A8C3BF-516F-DDA0-2261-1CC6E9F97AB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EEDBB515-615C-2F30-03E0-1CABED2E5DF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DFA9327D-A6B4-A553-53CE-20D3BDB6B32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17D786CC-400F-105B-9D2C-A93190887FD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971D0C3D-E685-024F-56C7-5F9753D33D0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1F5B1EC8-993D-7CEA-F925-EAE9031BD47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6671B682-6DD9-C0CB-45BD-93BE76C45E3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88" name="Group 287">
            <a:extLst>
              <a:ext uri="{FF2B5EF4-FFF2-40B4-BE49-F238E27FC236}">
                <a16:creationId xmlns:a16="http://schemas.microsoft.com/office/drawing/2014/main" id="{924588F4-6F81-E720-39F6-1692960A2CC2}"/>
              </a:ext>
            </a:extLst>
          </p:cNvPr>
          <p:cNvGrpSpPr/>
          <p:nvPr/>
        </p:nvGrpSpPr>
        <p:grpSpPr>
          <a:xfrm rot="16200000" flipV="1">
            <a:off x="1290285" y="6085474"/>
            <a:ext cx="1729654" cy="848268"/>
            <a:chOff x="233739" y="283295"/>
            <a:chExt cx="1729654" cy="848268"/>
          </a:xfrm>
          <a:gradFill>
            <a:gsLst>
              <a:gs pos="0">
                <a:schemeClr val="accent5"/>
              </a:gs>
              <a:gs pos="100000">
                <a:schemeClr val="tx1">
                  <a:alpha val="0"/>
                </a:schemeClr>
              </a:gs>
            </a:gsLst>
            <a:lin ang="0" scaled="1"/>
          </a:gradFill>
        </p:grpSpPr>
        <p:grpSp>
          <p:nvGrpSpPr>
            <p:cNvPr id="289" name="Group 288">
              <a:extLst>
                <a:ext uri="{FF2B5EF4-FFF2-40B4-BE49-F238E27FC236}">
                  <a16:creationId xmlns:a16="http://schemas.microsoft.com/office/drawing/2014/main" id="{5D212186-49B8-E3C7-9386-CFD0E15D87B3}"/>
                </a:ext>
              </a:extLst>
            </p:cNvPr>
            <p:cNvGrpSpPr/>
            <p:nvPr/>
          </p:nvGrpSpPr>
          <p:grpSpPr>
            <a:xfrm rot="5400000">
              <a:off x="1055270" y="-538236"/>
              <a:ext cx="86591" cy="1729654"/>
              <a:chOff x="85292" y="59892"/>
              <a:chExt cx="86591" cy="1729654"/>
            </a:xfrm>
            <a:grpFill/>
          </p:grpSpPr>
          <p:sp>
            <p:nvSpPr>
              <p:cNvPr id="323" name="Oval 322">
                <a:extLst>
                  <a:ext uri="{FF2B5EF4-FFF2-40B4-BE49-F238E27FC236}">
                    <a16:creationId xmlns:a16="http://schemas.microsoft.com/office/drawing/2014/main" id="{00E7410A-2B95-9A20-41CC-27AC435FE6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D3D4C21A-B850-B300-1CB4-E7E2B670ACB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77CD6B8A-35CA-D9DC-65A2-A9BFACF9AFC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16A936D6-56FE-B2EC-F43D-C28AF5B6DC4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C31C5BE6-BE88-472B-435E-0AAAB9AF530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C10E88F4-DC19-4F61-77CA-C2B456FACDE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B8475127-9893-C70E-EB9B-1D52A2A260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D1E22A65-2DDE-2A0B-54DF-461AE3F8782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441572ED-BA57-8D7D-0092-8A8ADFAFD46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Oval 331">
                <a:extLst>
                  <a:ext uri="{FF2B5EF4-FFF2-40B4-BE49-F238E27FC236}">
                    <a16:creationId xmlns:a16="http://schemas.microsoft.com/office/drawing/2014/main" id="{70152536-7144-53FB-8757-7062AD14EDF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0" name="Group 289">
              <a:extLst>
                <a:ext uri="{FF2B5EF4-FFF2-40B4-BE49-F238E27FC236}">
                  <a16:creationId xmlns:a16="http://schemas.microsoft.com/office/drawing/2014/main" id="{99131FFD-0960-B054-AA1F-22406838A541}"/>
                </a:ext>
              </a:extLst>
            </p:cNvPr>
            <p:cNvGrpSpPr/>
            <p:nvPr/>
          </p:nvGrpSpPr>
          <p:grpSpPr>
            <a:xfrm rot="5400000">
              <a:off x="1055270" y="-284344"/>
              <a:ext cx="86591" cy="1729654"/>
              <a:chOff x="85292" y="59892"/>
              <a:chExt cx="86591" cy="1729654"/>
            </a:xfrm>
            <a:grpFill/>
          </p:grpSpPr>
          <p:sp>
            <p:nvSpPr>
              <p:cNvPr id="313" name="Oval 312">
                <a:extLst>
                  <a:ext uri="{FF2B5EF4-FFF2-40B4-BE49-F238E27FC236}">
                    <a16:creationId xmlns:a16="http://schemas.microsoft.com/office/drawing/2014/main" id="{5598CF14-DD69-A5EC-CE17-B726C8BE04E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22E40596-2803-7B89-D14A-2DB69C3104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19A458BB-DA87-897B-BAF1-DD61ABA7C10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6072BAFA-B8CC-D560-E506-4C67997A7D7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82FAA12C-D1FC-CA19-6F27-63D00AB145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4941EC9C-521F-CE80-D51C-D060065E6A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C392545D-1141-FEDC-2838-B8CE57A8E79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4A45D84D-5A30-564F-5EFC-2669D116240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515CE2F1-1F95-EA6B-A7CB-BD161B58E1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a:extLst>
                  <a:ext uri="{FF2B5EF4-FFF2-40B4-BE49-F238E27FC236}">
                    <a16:creationId xmlns:a16="http://schemas.microsoft.com/office/drawing/2014/main" id="{37D2C448-5E92-EDFD-11A4-F232677D452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1" name="Group 290">
              <a:extLst>
                <a:ext uri="{FF2B5EF4-FFF2-40B4-BE49-F238E27FC236}">
                  <a16:creationId xmlns:a16="http://schemas.microsoft.com/office/drawing/2014/main" id="{2025DA49-5457-6BA7-125F-AD1FBD90DEC8}"/>
                </a:ext>
              </a:extLst>
            </p:cNvPr>
            <p:cNvGrpSpPr/>
            <p:nvPr/>
          </p:nvGrpSpPr>
          <p:grpSpPr>
            <a:xfrm rot="5400000">
              <a:off x="1055270" y="-30452"/>
              <a:ext cx="86591" cy="1729654"/>
              <a:chOff x="85292" y="59892"/>
              <a:chExt cx="86591" cy="1729654"/>
            </a:xfrm>
            <a:grpFill/>
          </p:grpSpPr>
          <p:sp>
            <p:nvSpPr>
              <p:cNvPr id="303" name="Oval 302">
                <a:extLst>
                  <a:ext uri="{FF2B5EF4-FFF2-40B4-BE49-F238E27FC236}">
                    <a16:creationId xmlns:a16="http://schemas.microsoft.com/office/drawing/2014/main" id="{91A212F1-A45B-916F-71E2-4A0871ADE20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8B3BCDF6-ADC4-4701-405B-1F44029833B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EC0830C4-60C1-FAC0-8074-A04A952A088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F16661EC-4B88-7175-C42F-1DD86B9B9E4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A20F2ACC-9C9B-48B6-0C93-4410912CE18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5FF7DEF4-CCF1-5F14-A033-33C90270D21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1DBF1F0B-DAB4-6C52-73F0-6F615DF9DA8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68A79986-5993-E36E-8DF9-C3A4BF42468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269AA151-93C9-7546-4A30-4EED9F10A4D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Oval 311">
                <a:extLst>
                  <a:ext uri="{FF2B5EF4-FFF2-40B4-BE49-F238E27FC236}">
                    <a16:creationId xmlns:a16="http://schemas.microsoft.com/office/drawing/2014/main" id="{A41DCE54-D482-3F2D-4930-EB63527700F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2" name="Group 291">
              <a:extLst>
                <a:ext uri="{FF2B5EF4-FFF2-40B4-BE49-F238E27FC236}">
                  <a16:creationId xmlns:a16="http://schemas.microsoft.com/office/drawing/2014/main" id="{26EAC1EB-7FC8-92AA-292E-E2FD3F7C31C5}"/>
                </a:ext>
              </a:extLst>
            </p:cNvPr>
            <p:cNvGrpSpPr/>
            <p:nvPr/>
          </p:nvGrpSpPr>
          <p:grpSpPr>
            <a:xfrm rot="5400000">
              <a:off x="1055270" y="223441"/>
              <a:ext cx="86591" cy="1729654"/>
              <a:chOff x="85292" y="59892"/>
              <a:chExt cx="86591" cy="1729654"/>
            </a:xfrm>
            <a:grpFill/>
          </p:grpSpPr>
          <p:sp>
            <p:nvSpPr>
              <p:cNvPr id="293" name="Oval 292">
                <a:extLst>
                  <a:ext uri="{FF2B5EF4-FFF2-40B4-BE49-F238E27FC236}">
                    <a16:creationId xmlns:a16="http://schemas.microsoft.com/office/drawing/2014/main" id="{34AB0C94-7D50-C128-0015-E6B9A3CDC59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83D11C37-76B0-2F11-9552-02D6F33E2C0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573703B7-57CE-1C9A-6D13-8705F261824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61C539E4-CE3D-074D-0A1F-18B7098781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212DCDB4-CBEC-8BAC-BDEC-77C0FDD7665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7EFD7B4A-D1D8-8ACF-8588-259137D3367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D6999E8C-4B5B-ED27-DFEC-88C6BB2EA55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77274730-6B2B-DFD6-D327-D9C19633C5B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E41EE8BE-05C6-52A3-BFBB-2CA2D7491BC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2A36066E-8152-053B-BCC4-94F2033672D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3" name="Group 332">
            <a:extLst>
              <a:ext uri="{FF2B5EF4-FFF2-40B4-BE49-F238E27FC236}">
                <a16:creationId xmlns:a16="http://schemas.microsoft.com/office/drawing/2014/main" id="{A3425C2B-DDEE-0729-5DF6-019072F441A3}"/>
              </a:ext>
            </a:extLst>
          </p:cNvPr>
          <p:cNvGrpSpPr/>
          <p:nvPr/>
        </p:nvGrpSpPr>
        <p:grpSpPr>
          <a:xfrm rot="16200000" flipV="1">
            <a:off x="2234732" y="6253149"/>
            <a:ext cx="1729654" cy="848268"/>
            <a:chOff x="233739" y="283295"/>
            <a:chExt cx="1729654" cy="848268"/>
          </a:xfrm>
          <a:gradFill>
            <a:gsLst>
              <a:gs pos="0">
                <a:schemeClr val="accent5"/>
              </a:gs>
              <a:gs pos="100000">
                <a:schemeClr val="tx1">
                  <a:alpha val="0"/>
                </a:schemeClr>
              </a:gs>
            </a:gsLst>
            <a:lin ang="0" scaled="1"/>
          </a:gradFill>
        </p:grpSpPr>
        <p:grpSp>
          <p:nvGrpSpPr>
            <p:cNvPr id="334" name="Group 333">
              <a:extLst>
                <a:ext uri="{FF2B5EF4-FFF2-40B4-BE49-F238E27FC236}">
                  <a16:creationId xmlns:a16="http://schemas.microsoft.com/office/drawing/2014/main" id="{06211689-F04F-6D4A-87BD-F9F2902B4C40}"/>
                </a:ext>
              </a:extLst>
            </p:cNvPr>
            <p:cNvGrpSpPr/>
            <p:nvPr/>
          </p:nvGrpSpPr>
          <p:grpSpPr>
            <a:xfrm rot="5400000">
              <a:off x="1055270" y="-538236"/>
              <a:ext cx="86591" cy="1729654"/>
              <a:chOff x="85292" y="59892"/>
              <a:chExt cx="86591" cy="1729654"/>
            </a:xfrm>
            <a:grpFill/>
          </p:grpSpPr>
          <p:sp>
            <p:nvSpPr>
              <p:cNvPr id="368" name="Oval 367">
                <a:extLst>
                  <a:ext uri="{FF2B5EF4-FFF2-40B4-BE49-F238E27FC236}">
                    <a16:creationId xmlns:a16="http://schemas.microsoft.com/office/drawing/2014/main" id="{12CFC107-DC9D-403E-CC0D-FAFE17646E8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739687FB-4904-0223-7A2B-4893A47577C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292A4A25-B40D-CEEC-B3C2-1F5D79DD47B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8DFEE866-5239-0B63-3D5B-C3CC6DE6FAD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3C47CDC8-EC08-7626-0A1D-A77F2C96F27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BD99E7F5-B2C0-4C3E-77FA-B3E3A2EDE80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9E93691D-3537-B63B-EA50-0179FBCD3D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5B1D76FD-C20A-A2F4-3FFB-CC89F1BF32B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A16FA731-848C-FF49-EB69-8A1FAB7733B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A1734CB2-D317-AC6B-95C1-EB2811AA77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5" name="Group 334">
              <a:extLst>
                <a:ext uri="{FF2B5EF4-FFF2-40B4-BE49-F238E27FC236}">
                  <a16:creationId xmlns:a16="http://schemas.microsoft.com/office/drawing/2014/main" id="{1AEA4085-5BE1-9A2D-8B1D-DA72DCD0D8AA}"/>
                </a:ext>
              </a:extLst>
            </p:cNvPr>
            <p:cNvGrpSpPr/>
            <p:nvPr/>
          </p:nvGrpSpPr>
          <p:grpSpPr>
            <a:xfrm rot="5400000">
              <a:off x="1055270" y="-284344"/>
              <a:ext cx="86591" cy="1729654"/>
              <a:chOff x="85292" y="59892"/>
              <a:chExt cx="86591" cy="1729654"/>
            </a:xfrm>
            <a:grpFill/>
          </p:grpSpPr>
          <p:sp>
            <p:nvSpPr>
              <p:cNvPr id="358" name="Oval 357">
                <a:extLst>
                  <a:ext uri="{FF2B5EF4-FFF2-40B4-BE49-F238E27FC236}">
                    <a16:creationId xmlns:a16="http://schemas.microsoft.com/office/drawing/2014/main" id="{B0242A84-752D-7421-D098-30C41E77C2D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84C7D961-7635-477D-2309-1F2B4806833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7596BAD8-DEED-2D9E-0128-ED7C480C62B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9AC8B4B6-AF6D-3067-64C0-C767B06ACB5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B8FB283B-BCF9-3B8A-67C8-C04F8E07B5C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774A8A7A-3CBF-F8EA-BBD4-A82A7891C7E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3E194D58-94A0-155B-0A70-7AFF2C0D9F1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0BA1BD8D-00F7-94CC-9610-6713B79E300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0059A958-49BE-4C9E-7077-C7A15E8ACB3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C0E2840C-EF1D-C578-A9C1-A4FBFD1BD08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6" name="Group 335">
              <a:extLst>
                <a:ext uri="{FF2B5EF4-FFF2-40B4-BE49-F238E27FC236}">
                  <a16:creationId xmlns:a16="http://schemas.microsoft.com/office/drawing/2014/main" id="{CF7FEAFE-56E7-66B8-6E3B-A118A8891C1B}"/>
                </a:ext>
              </a:extLst>
            </p:cNvPr>
            <p:cNvGrpSpPr/>
            <p:nvPr/>
          </p:nvGrpSpPr>
          <p:grpSpPr>
            <a:xfrm rot="5400000">
              <a:off x="1055270" y="-30452"/>
              <a:ext cx="86591" cy="1729654"/>
              <a:chOff x="85292" y="59892"/>
              <a:chExt cx="86591" cy="1729654"/>
            </a:xfrm>
            <a:grpFill/>
          </p:grpSpPr>
          <p:sp>
            <p:nvSpPr>
              <p:cNvPr id="348" name="Oval 347">
                <a:extLst>
                  <a:ext uri="{FF2B5EF4-FFF2-40B4-BE49-F238E27FC236}">
                    <a16:creationId xmlns:a16="http://schemas.microsoft.com/office/drawing/2014/main" id="{095B1181-9CAB-C00C-0A70-7FCCEC982BC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DA2C41AF-A92E-DD7F-C8C4-1FDDED83DB8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CF91935E-DCEE-88CD-9452-9A13D371E09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9790637D-5239-0BD0-495F-2CE2E677701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1A8A72E9-B8D2-2482-662E-E9801C49A85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6C6297CF-D2EF-6D48-88BF-AC46B7D0EF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4E9F5724-DCE2-1C83-136B-7E12230CA42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AFD41ED6-2117-BDB7-85EA-E2BEAF98E24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32C41C37-0D38-2BCF-9F0D-30B4982403D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0217BA49-8B7C-A369-3AB2-02B22F0F874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7" name="Group 336">
              <a:extLst>
                <a:ext uri="{FF2B5EF4-FFF2-40B4-BE49-F238E27FC236}">
                  <a16:creationId xmlns:a16="http://schemas.microsoft.com/office/drawing/2014/main" id="{DC289922-CF1C-3AFF-6E82-BCFF560BDC96}"/>
                </a:ext>
              </a:extLst>
            </p:cNvPr>
            <p:cNvGrpSpPr/>
            <p:nvPr/>
          </p:nvGrpSpPr>
          <p:grpSpPr>
            <a:xfrm rot="5400000">
              <a:off x="1055270" y="223441"/>
              <a:ext cx="86591" cy="1729654"/>
              <a:chOff x="85292" y="59892"/>
              <a:chExt cx="86591" cy="1729654"/>
            </a:xfrm>
            <a:grpFill/>
          </p:grpSpPr>
          <p:sp>
            <p:nvSpPr>
              <p:cNvPr id="338" name="Oval 337">
                <a:extLst>
                  <a:ext uri="{FF2B5EF4-FFF2-40B4-BE49-F238E27FC236}">
                    <a16:creationId xmlns:a16="http://schemas.microsoft.com/office/drawing/2014/main" id="{C7E13F67-20E8-FE12-8346-215F1B83664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97C7F549-A097-F1F5-9831-D625CD5896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923FD8D9-1677-F27B-6532-DEB9D90141C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9E58C744-4C99-1A35-7436-681F37F3501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Oval 341">
                <a:extLst>
                  <a:ext uri="{FF2B5EF4-FFF2-40B4-BE49-F238E27FC236}">
                    <a16:creationId xmlns:a16="http://schemas.microsoft.com/office/drawing/2014/main" id="{AD20EA62-5C61-81C7-B075-64973EB2DE4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Oval 342">
                <a:extLst>
                  <a:ext uri="{FF2B5EF4-FFF2-40B4-BE49-F238E27FC236}">
                    <a16:creationId xmlns:a16="http://schemas.microsoft.com/office/drawing/2014/main" id="{8AD9AC2F-3B85-0713-6DA2-394A2C4947A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Oval 343">
                <a:extLst>
                  <a:ext uri="{FF2B5EF4-FFF2-40B4-BE49-F238E27FC236}">
                    <a16:creationId xmlns:a16="http://schemas.microsoft.com/office/drawing/2014/main" id="{E3A3B926-6EBE-3135-13A1-54ECA920A16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Oval 344">
                <a:extLst>
                  <a:ext uri="{FF2B5EF4-FFF2-40B4-BE49-F238E27FC236}">
                    <a16:creationId xmlns:a16="http://schemas.microsoft.com/office/drawing/2014/main" id="{06CA2EAB-6AF2-CCB1-4124-A00BD345338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Oval 345">
                <a:extLst>
                  <a:ext uri="{FF2B5EF4-FFF2-40B4-BE49-F238E27FC236}">
                    <a16:creationId xmlns:a16="http://schemas.microsoft.com/office/drawing/2014/main" id="{B65028DA-4A5D-E11B-2E91-E7A8F4B4F4B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a:extLst>
                  <a:ext uri="{FF2B5EF4-FFF2-40B4-BE49-F238E27FC236}">
                    <a16:creationId xmlns:a16="http://schemas.microsoft.com/office/drawing/2014/main" id="{8F3FBA1E-B91D-B251-5A32-77C3A6DB192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78" name="Rectangle: Rounded Corners 377">
            <a:hlinkClick r:id="rId7" action="ppaction://hlinksldjump"/>
            <a:hlinkHover r:id="" action="ppaction://noaction" highlightClick="1"/>
            <a:extLst>
              <a:ext uri="{FF2B5EF4-FFF2-40B4-BE49-F238E27FC236}">
                <a16:creationId xmlns:a16="http://schemas.microsoft.com/office/drawing/2014/main" id="{81FF4558-B6E3-9B6E-7578-7B5803A1C22B}"/>
              </a:ext>
            </a:extLst>
          </p:cNvPr>
          <p:cNvSpPr/>
          <p:nvPr/>
        </p:nvSpPr>
        <p:spPr>
          <a:xfrm>
            <a:off x="809624" y="2612114"/>
            <a:ext cx="2437078" cy="3255286"/>
          </a:xfrm>
          <a:prstGeom prst="roundRect">
            <a:avLst>
              <a:gd name="adj" fmla="val 6896"/>
            </a:avLst>
          </a:prstGeom>
          <a:solidFill>
            <a:srgbClr val="F4F6DE"/>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TextBox 378">
            <a:extLst>
              <a:ext uri="{FF2B5EF4-FFF2-40B4-BE49-F238E27FC236}">
                <a16:creationId xmlns:a16="http://schemas.microsoft.com/office/drawing/2014/main" id="{C04F4163-0F56-A810-510F-F35FB0160509}"/>
              </a:ext>
            </a:extLst>
          </p:cNvPr>
          <p:cNvSpPr txBox="1"/>
          <p:nvPr/>
        </p:nvSpPr>
        <p:spPr>
          <a:xfrm>
            <a:off x="1077031" y="2789182"/>
            <a:ext cx="1902265" cy="769441"/>
          </a:xfrm>
          <a:prstGeom prst="rect">
            <a:avLst/>
          </a:prstGeom>
          <a:noFill/>
        </p:spPr>
        <p:txBody>
          <a:bodyPr wrap="square" lIns="0" rIns="0" rtlCol="0">
            <a:spAutoFit/>
          </a:bodyPr>
          <a:lstStyle/>
          <a:p>
            <a:r>
              <a:rPr lang="id-ID" sz="4400" b="1" dirty="0">
                <a:solidFill>
                  <a:srgbClr val="168DA5"/>
                </a:solidFill>
              </a:rPr>
              <a:t>0</a:t>
            </a:r>
            <a:r>
              <a:rPr lang="en-US" sz="4400" b="1" dirty="0">
                <a:solidFill>
                  <a:srgbClr val="168DA5"/>
                </a:solidFill>
              </a:rPr>
              <a:t>9</a:t>
            </a:r>
            <a:r>
              <a:rPr lang="id-ID" sz="4400" b="1" dirty="0">
                <a:solidFill>
                  <a:srgbClr val="168DA5"/>
                </a:solidFill>
              </a:rPr>
              <a:t>.</a:t>
            </a:r>
            <a:endParaRPr lang="en-US" sz="4400" b="1" dirty="0">
              <a:solidFill>
                <a:srgbClr val="168DA5"/>
              </a:solidFill>
            </a:endParaRPr>
          </a:p>
        </p:txBody>
      </p:sp>
      <p:sp>
        <p:nvSpPr>
          <p:cNvPr id="381" name="TextBox 380">
            <a:extLst>
              <a:ext uri="{FF2B5EF4-FFF2-40B4-BE49-F238E27FC236}">
                <a16:creationId xmlns:a16="http://schemas.microsoft.com/office/drawing/2014/main" id="{2BA9F230-A031-1B41-5470-2112619AF01C}"/>
              </a:ext>
            </a:extLst>
          </p:cNvPr>
          <p:cNvSpPr txBox="1"/>
          <p:nvPr/>
        </p:nvSpPr>
        <p:spPr>
          <a:xfrm>
            <a:off x="1077031" y="3576484"/>
            <a:ext cx="1938878" cy="1631216"/>
          </a:xfrm>
          <a:prstGeom prst="rect">
            <a:avLst/>
          </a:prstGeom>
          <a:noFill/>
        </p:spPr>
        <p:txBody>
          <a:bodyPr wrap="square" lIns="0" rIns="0" rtlCol="0">
            <a:spAutoFit/>
          </a:bodyPr>
          <a:lstStyle/>
          <a:p>
            <a:r>
              <a:rPr lang="en-US" sz="2000" b="1" dirty="0"/>
              <a:t>Additional Task:</a:t>
            </a:r>
          </a:p>
          <a:p>
            <a:r>
              <a:rPr lang="en-US" sz="2000" b="1" dirty="0"/>
              <a:t>Implementation Using Python for Markov Model.</a:t>
            </a:r>
          </a:p>
        </p:txBody>
      </p:sp>
      <p:cxnSp>
        <p:nvCxnSpPr>
          <p:cNvPr id="382" name="Straight Connector 381">
            <a:extLst>
              <a:ext uri="{FF2B5EF4-FFF2-40B4-BE49-F238E27FC236}">
                <a16:creationId xmlns:a16="http://schemas.microsoft.com/office/drawing/2014/main" id="{EED3A17E-1E0F-F3E6-47F1-D7FC6414D533}"/>
              </a:ext>
            </a:extLst>
          </p:cNvPr>
          <p:cNvCxnSpPr>
            <a:cxnSpLocks/>
          </p:cNvCxnSpPr>
          <p:nvPr/>
        </p:nvCxnSpPr>
        <p:spPr>
          <a:xfrm>
            <a:off x="2819400" y="3355623"/>
            <a:ext cx="427302" cy="0"/>
          </a:xfrm>
          <a:prstGeom prst="line">
            <a:avLst/>
          </a:prstGeom>
          <a:ln>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3FDA45EC-45E8-E99B-1409-CDFD6040EFEC}"/>
              </a:ext>
            </a:extLst>
          </p:cNvPr>
          <p:cNvGrpSpPr/>
          <p:nvPr/>
        </p:nvGrpSpPr>
        <p:grpSpPr>
          <a:xfrm rot="16200000" flipV="1">
            <a:off x="3164813" y="6610192"/>
            <a:ext cx="1729654" cy="848268"/>
            <a:chOff x="233739" y="283295"/>
            <a:chExt cx="1729654" cy="848268"/>
          </a:xfrm>
          <a:gradFill>
            <a:gsLst>
              <a:gs pos="0">
                <a:schemeClr val="accent5"/>
              </a:gs>
              <a:gs pos="100000">
                <a:schemeClr val="tx1">
                  <a:alpha val="0"/>
                </a:schemeClr>
              </a:gs>
            </a:gsLst>
            <a:lin ang="0" scaled="1"/>
          </a:gradFill>
        </p:grpSpPr>
        <p:grpSp>
          <p:nvGrpSpPr>
            <p:cNvPr id="384" name="Group 383">
              <a:extLst>
                <a:ext uri="{FF2B5EF4-FFF2-40B4-BE49-F238E27FC236}">
                  <a16:creationId xmlns:a16="http://schemas.microsoft.com/office/drawing/2014/main" id="{458A1441-D228-ABC0-2C23-944CE85B8C07}"/>
                </a:ext>
              </a:extLst>
            </p:cNvPr>
            <p:cNvGrpSpPr/>
            <p:nvPr/>
          </p:nvGrpSpPr>
          <p:grpSpPr>
            <a:xfrm rot="5400000">
              <a:off x="1055270" y="-538236"/>
              <a:ext cx="86591" cy="1729654"/>
              <a:chOff x="85292" y="59892"/>
              <a:chExt cx="86591" cy="1729654"/>
            </a:xfrm>
            <a:grpFill/>
          </p:grpSpPr>
          <p:sp>
            <p:nvSpPr>
              <p:cNvPr id="418" name="Oval 417">
                <a:extLst>
                  <a:ext uri="{FF2B5EF4-FFF2-40B4-BE49-F238E27FC236}">
                    <a16:creationId xmlns:a16="http://schemas.microsoft.com/office/drawing/2014/main" id="{17A6DC1C-31CE-57DF-B3F5-84677C8D19E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9" name="Oval 418">
                <a:extLst>
                  <a:ext uri="{FF2B5EF4-FFF2-40B4-BE49-F238E27FC236}">
                    <a16:creationId xmlns:a16="http://schemas.microsoft.com/office/drawing/2014/main" id="{098A77E6-50F2-B802-E793-287B2259EA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0" name="Oval 419">
                <a:extLst>
                  <a:ext uri="{FF2B5EF4-FFF2-40B4-BE49-F238E27FC236}">
                    <a16:creationId xmlns:a16="http://schemas.microsoft.com/office/drawing/2014/main" id="{625C99A7-6EF2-A114-DE24-FDE99C05168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1" name="Oval 420">
                <a:extLst>
                  <a:ext uri="{FF2B5EF4-FFF2-40B4-BE49-F238E27FC236}">
                    <a16:creationId xmlns:a16="http://schemas.microsoft.com/office/drawing/2014/main" id="{52A95103-0002-CFE3-60FF-D245F605EB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2" name="Oval 421">
                <a:extLst>
                  <a:ext uri="{FF2B5EF4-FFF2-40B4-BE49-F238E27FC236}">
                    <a16:creationId xmlns:a16="http://schemas.microsoft.com/office/drawing/2014/main" id="{A071980A-76AD-D662-5AE4-84BC598530A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Oval 422">
                <a:extLst>
                  <a:ext uri="{FF2B5EF4-FFF2-40B4-BE49-F238E27FC236}">
                    <a16:creationId xmlns:a16="http://schemas.microsoft.com/office/drawing/2014/main" id="{CFF4738E-8A9E-67EF-36DC-FCC887EE6D6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Oval 423">
                <a:extLst>
                  <a:ext uri="{FF2B5EF4-FFF2-40B4-BE49-F238E27FC236}">
                    <a16:creationId xmlns:a16="http://schemas.microsoft.com/office/drawing/2014/main" id="{9CCA7993-C1E6-AC28-37D1-992AF2DA2C2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5" name="Oval 424">
                <a:extLst>
                  <a:ext uri="{FF2B5EF4-FFF2-40B4-BE49-F238E27FC236}">
                    <a16:creationId xmlns:a16="http://schemas.microsoft.com/office/drawing/2014/main" id="{F432267D-0F75-51D2-BF98-32E52520C08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 name="Oval 425">
                <a:extLst>
                  <a:ext uri="{FF2B5EF4-FFF2-40B4-BE49-F238E27FC236}">
                    <a16:creationId xmlns:a16="http://schemas.microsoft.com/office/drawing/2014/main" id="{99D9BE12-F93E-993A-0DEC-B6AA527CC71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 name="Oval 426">
                <a:extLst>
                  <a:ext uri="{FF2B5EF4-FFF2-40B4-BE49-F238E27FC236}">
                    <a16:creationId xmlns:a16="http://schemas.microsoft.com/office/drawing/2014/main" id="{D2CB8084-D873-A868-11C1-12C4DA54E2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5" name="Group 384">
              <a:extLst>
                <a:ext uri="{FF2B5EF4-FFF2-40B4-BE49-F238E27FC236}">
                  <a16:creationId xmlns:a16="http://schemas.microsoft.com/office/drawing/2014/main" id="{B37FE4DD-C7B2-94A4-9D6B-3FB77DDFB1A8}"/>
                </a:ext>
              </a:extLst>
            </p:cNvPr>
            <p:cNvGrpSpPr/>
            <p:nvPr/>
          </p:nvGrpSpPr>
          <p:grpSpPr>
            <a:xfrm rot="5400000">
              <a:off x="1055270" y="-284344"/>
              <a:ext cx="86591" cy="1729654"/>
              <a:chOff x="85292" y="59892"/>
              <a:chExt cx="86591" cy="1729654"/>
            </a:xfrm>
            <a:grpFill/>
          </p:grpSpPr>
          <p:sp>
            <p:nvSpPr>
              <p:cNvPr id="408" name="Oval 407">
                <a:extLst>
                  <a:ext uri="{FF2B5EF4-FFF2-40B4-BE49-F238E27FC236}">
                    <a16:creationId xmlns:a16="http://schemas.microsoft.com/office/drawing/2014/main" id="{0BA928E1-4754-9E57-0A50-EAEDCB56421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Oval 408">
                <a:extLst>
                  <a:ext uri="{FF2B5EF4-FFF2-40B4-BE49-F238E27FC236}">
                    <a16:creationId xmlns:a16="http://schemas.microsoft.com/office/drawing/2014/main" id="{2A322A7C-79FA-E6F9-8A9B-893FD8C8E93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Oval 409">
                <a:extLst>
                  <a:ext uri="{FF2B5EF4-FFF2-40B4-BE49-F238E27FC236}">
                    <a16:creationId xmlns:a16="http://schemas.microsoft.com/office/drawing/2014/main" id="{191555B1-CC8F-2FDB-BB9A-404C5CEAD0D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Oval 410">
                <a:extLst>
                  <a:ext uri="{FF2B5EF4-FFF2-40B4-BE49-F238E27FC236}">
                    <a16:creationId xmlns:a16="http://schemas.microsoft.com/office/drawing/2014/main" id="{18DCF1B0-B36D-FD26-A5F7-1785C3FB2D6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Oval 411">
                <a:extLst>
                  <a:ext uri="{FF2B5EF4-FFF2-40B4-BE49-F238E27FC236}">
                    <a16:creationId xmlns:a16="http://schemas.microsoft.com/office/drawing/2014/main" id="{9EB58E8B-5BB0-B79E-8A1C-276701835BC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3" name="Oval 412">
                <a:extLst>
                  <a:ext uri="{FF2B5EF4-FFF2-40B4-BE49-F238E27FC236}">
                    <a16:creationId xmlns:a16="http://schemas.microsoft.com/office/drawing/2014/main" id="{9217D9BD-419A-65F3-54A9-E5DD05200D7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Oval 413">
                <a:extLst>
                  <a:ext uri="{FF2B5EF4-FFF2-40B4-BE49-F238E27FC236}">
                    <a16:creationId xmlns:a16="http://schemas.microsoft.com/office/drawing/2014/main" id="{2F415733-D726-10E7-2534-4DCE538553F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Oval 414">
                <a:extLst>
                  <a:ext uri="{FF2B5EF4-FFF2-40B4-BE49-F238E27FC236}">
                    <a16:creationId xmlns:a16="http://schemas.microsoft.com/office/drawing/2014/main" id="{5BACC73F-C5D0-C1CA-16B5-1812C7616A3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Oval 415">
                <a:extLst>
                  <a:ext uri="{FF2B5EF4-FFF2-40B4-BE49-F238E27FC236}">
                    <a16:creationId xmlns:a16="http://schemas.microsoft.com/office/drawing/2014/main" id="{70596BB0-CA88-832A-F01A-410F3A1EA51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7" name="Oval 416">
                <a:extLst>
                  <a:ext uri="{FF2B5EF4-FFF2-40B4-BE49-F238E27FC236}">
                    <a16:creationId xmlns:a16="http://schemas.microsoft.com/office/drawing/2014/main" id="{493E4791-2414-3FD6-4614-9B314C613F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6" name="Group 385">
              <a:extLst>
                <a:ext uri="{FF2B5EF4-FFF2-40B4-BE49-F238E27FC236}">
                  <a16:creationId xmlns:a16="http://schemas.microsoft.com/office/drawing/2014/main" id="{5685E4D7-F121-F6AD-85E7-9D672BA36E33}"/>
                </a:ext>
              </a:extLst>
            </p:cNvPr>
            <p:cNvGrpSpPr/>
            <p:nvPr/>
          </p:nvGrpSpPr>
          <p:grpSpPr>
            <a:xfrm rot="5400000">
              <a:off x="1055270" y="-30452"/>
              <a:ext cx="86591" cy="1729654"/>
              <a:chOff x="85292" y="59892"/>
              <a:chExt cx="86591" cy="1729654"/>
            </a:xfrm>
            <a:grpFill/>
          </p:grpSpPr>
          <p:sp>
            <p:nvSpPr>
              <p:cNvPr id="398" name="Oval 397">
                <a:extLst>
                  <a:ext uri="{FF2B5EF4-FFF2-40B4-BE49-F238E27FC236}">
                    <a16:creationId xmlns:a16="http://schemas.microsoft.com/office/drawing/2014/main" id="{9860E6F6-91B3-1B94-89A1-B145886ACB2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9" name="Oval 398">
                <a:extLst>
                  <a:ext uri="{FF2B5EF4-FFF2-40B4-BE49-F238E27FC236}">
                    <a16:creationId xmlns:a16="http://schemas.microsoft.com/office/drawing/2014/main" id="{AAC931D1-6A22-6D93-9D47-85E08573455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Oval 399">
                <a:extLst>
                  <a:ext uri="{FF2B5EF4-FFF2-40B4-BE49-F238E27FC236}">
                    <a16:creationId xmlns:a16="http://schemas.microsoft.com/office/drawing/2014/main" id="{0EE4EBD7-9F4B-9FE9-0FD5-A6B21C69369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Oval 400">
                <a:extLst>
                  <a:ext uri="{FF2B5EF4-FFF2-40B4-BE49-F238E27FC236}">
                    <a16:creationId xmlns:a16="http://schemas.microsoft.com/office/drawing/2014/main" id="{020DB3A8-A545-431A-1C9E-B32CD9322CD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Oval 401">
                <a:extLst>
                  <a:ext uri="{FF2B5EF4-FFF2-40B4-BE49-F238E27FC236}">
                    <a16:creationId xmlns:a16="http://schemas.microsoft.com/office/drawing/2014/main" id="{088AB48A-EF7D-6911-CE83-9633B1CD0CA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Oval 402">
                <a:extLst>
                  <a:ext uri="{FF2B5EF4-FFF2-40B4-BE49-F238E27FC236}">
                    <a16:creationId xmlns:a16="http://schemas.microsoft.com/office/drawing/2014/main" id="{34B361D7-3473-F912-2D2D-B8134CA1317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Oval 403">
                <a:extLst>
                  <a:ext uri="{FF2B5EF4-FFF2-40B4-BE49-F238E27FC236}">
                    <a16:creationId xmlns:a16="http://schemas.microsoft.com/office/drawing/2014/main" id="{0EF59FF3-8206-45F4-4349-9D8B00A2115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F56C2E74-FAED-7566-047C-D1E82054C96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Oval 405">
                <a:extLst>
                  <a:ext uri="{FF2B5EF4-FFF2-40B4-BE49-F238E27FC236}">
                    <a16:creationId xmlns:a16="http://schemas.microsoft.com/office/drawing/2014/main" id="{745E40E9-42F2-8B04-91DD-AEF2E6659E6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Oval 406">
                <a:extLst>
                  <a:ext uri="{FF2B5EF4-FFF2-40B4-BE49-F238E27FC236}">
                    <a16:creationId xmlns:a16="http://schemas.microsoft.com/office/drawing/2014/main" id="{6C1A2709-7287-A44A-0B76-AB50E097F00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7" name="Group 386">
              <a:extLst>
                <a:ext uri="{FF2B5EF4-FFF2-40B4-BE49-F238E27FC236}">
                  <a16:creationId xmlns:a16="http://schemas.microsoft.com/office/drawing/2014/main" id="{5E6926E8-263A-4D47-37BE-8BD5AEEC7FA7}"/>
                </a:ext>
              </a:extLst>
            </p:cNvPr>
            <p:cNvGrpSpPr/>
            <p:nvPr/>
          </p:nvGrpSpPr>
          <p:grpSpPr>
            <a:xfrm rot="5400000">
              <a:off x="1055270" y="223441"/>
              <a:ext cx="86591" cy="1729654"/>
              <a:chOff x="85292" y="59892"/>
              <a:chExt cx="86591" cy="1729654"/>
            </a:xfrm>
            <a:grpFill/>
          </p:grpSpPr>
          <p:sp>
            <p:nvSpPr>
              <p:cNvPr id="388" name="Oval 387">
                <a:extLst>
                  <a:ext uri="{FF2B5EF4-FFF2-40B4-BE49-F238E27FC236}">
                    <a16:creationId xmlns:a16="http://schemas.microsoft.com/office/drawing/2014/main" id="{BFCD6CFE-DD53-F2BC-5D71-516240D269B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71969EE3-56B2-A62B-B782-BA12290A089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55695872-0867-AF02-FCA4-ECA5CFD1D84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8565CDB9-51F1-6012-E19C-75CE1869EDA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2581E272-A8CA-F5BB-C7F4-D66450BAA4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BB3FE139-A65E-B982-3CDD-B92860A7775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0CAAC992-CE38-4962-9235-89878856B6D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Oval 394">
                <a:extLst>
                  <a:ext uri="{FF2B5EF4-FFF2-40B4-BE49-F238E27FC236}">
                    <a16:creationId xmlns:a16="http://schemas.microsoft.com/office/drawing/2014/main" id="{EB0BF8F5-533A-C178-84DD-4AC3673EF9D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Oval 395">
                <a:extLst>
                  <a:ext uri="{FF2B5EF4-FFF2-40B4-BE49-F238E27FC236}">
                    <a16:creationId xmlns:a16="http://schemas.microsoft.com/office/drawing/2014/main" id="{7E21B3D4-8F13-39A4-D045-7B2C3145AC7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Oval 396">
                <a:extLst>
                  <a:ext uri="{FF2B5EF4-FFF2-40B4-BE49-F238E27FC236}">
                    <a16:creationId xmlns:a16="http://schemas.microsoft.com/office/drawing/2014/main" id="{379A477F-92D5-97FB-83B7-A63C6A5CEE0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28" name="Straight Connector 427">
            <a:extLst>
              <a:ext uri="{FF2B5EF4-FFF2-40B4-BE49-F238E27FC236}">
                <a16:creationId xmlns:a16="http://schemas.microsoft.com/office/drawing/2014/main" id="{A601B057-5408-E515-E77B-B1B5089D6D8B}"/>
              </a:ext>
            </a:extLst>
          </p:cNvPr>
          <p:cNvCxnSpPr>
            <a:cxnSpLocks/>
          </p:cNvCxnSpPr>
          <p:nvPr/>
        </p:nvCxnSpPr>
        <p:spPr>
          <a:xfrm flipH="1">
            <a:off x="10476998" y="6146758"/>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29" name="Oval 428">
            <a:extLst>
              <a:ext uri="{FF2B5EF4-FFF2-40B4-BE49-F238E27FC236}">
                <a16:creationId xmlns:a16="http://schemas.microsoft.com/office/drawing/2014/main" id="{E9189E8D-7DA1-ADA9-A191-0482B9402D65}"/>
              </a:ext>
            </a:extLst>
          </p:cNvPr>
          <p:cNvSpPr/>
          <p:nvPr/>
        </p:nvSpPr>
        <p:spPr>
          <a:xfrm>
            <a:off x="9478159" y="5611469"/>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 name="Oval 429">
            <a:extLst>
              <a:ext uri="{FF2B5EF4-FFF2-40B4-BE49-F238E27FC236}">
                <a16:creationId xmlns:a16="http://schemas.microsoft.com/office/drawing/2014/main" id="{C6A6765B-8AD3-F2C9-8159-B65E0C07CBCC}"/>
              </a:ext>
            </a:extLst>
          </p:cNvPr>
          <p:cNvSpPr/>
          <p:nvPr/>
        </p:nvSpPr>
        <p:spPr>
          <a:xfrm>
            <a:off x="10187859" y="5857620"/>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37" name="Group 436">
            <a:extLst>
              <a:ext uri="{FF2B5EF4-FFF2-40B4-BE49-F238E27FC236}">
                <a16:creationId xmlns:a16="http://schemas.microsoft.com/office/drawing/2014/main" id="{5FC0BAAF-AC55-2D76-B1C1-4F951C69377F}"/>
              </a:ext>
            </a:extLst>
          </p:cNvPr>
          <p:cNvGrpSpPr/>
          <p:nvPr/>
        </p:nvGrpSpPr>
        <p:grpSpPr>
          <a:xfrm rot="16200000" flipV="1">
            <a:off x="11007876" y="5421466"/>
            <a:ext cx="1835717" cy="848268"/>
            <a:chOff x="233739" y="283295"/>
            <a:chExt cx="1729654" cy="848268"/>
          </a:xfrm>
          <a:gradFill>
            <a:gsLst>
              <a:gs pos="0">
                <a:schemeClr val="accent5"/>
              </a:gs>
              <a:gs pos="100000">
                <a:schemeClr val="tx1">
                  <a:alpha val="0"/>
                </a:schemeClr>
              </a:gs>
            </a:gsLst>
            <a:lin ang="0" scaled="1"/>
          </a:gradFill>
        </p:grpSpPr>
        <p:grpSp>
          <p:nvGrpSpPr>
            <p:cNvPr id="438" name="Group 437">
              <a:extLst>
                <a:ext uri="{FF2B5EF4-FFF2-40B4-BE49-F238E27FC236}">
                  <a16:creationId xmlns:a16="http://schemas.microsoft.com/office/drawing/2014/main" id="{D9618CAE-22CC-8BA1-6487-1948C78F09E1}"/>
                </a:ext>
              </a:extLst>
            </p:cNvPr>
            <p:cNvGrpSpPr/>
            <p:nvPr/>
          </p:nvGrpSpPr>
          <p:grpSpPr>
            <a:xfrm rot="5400000">
              <a:off x="1055270" y="-538236"/>
              <a:ext cx="86591" cy="1729654"/>
              <a:chOff x="85292" y="59892"/>
              <a:chExt cx="86591" cy="1729654"/>
            </a:xfrm>
            <a:grpFill/>
          </p:grpSpPr>
          <p:sp>
            <p:nvSpPr>
              <p:cNvPr id="472" name="Oval 471">
                <a:extLst>
                  <a:ext uri="{FF2B5EF4-FFF2-40B4-BE49-F238E27FC236}">
                    <a16:creationId xmlns:a16="http://schemas.microsoft.com/office/drawing/2014/main" id="{56559235-BBAE-643D-5D92-F2FACAA8C4A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B5A1E1E6-69F5-1BC6-D918-AE0B753FAF0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89F7C31B-CF92-E05C-77A6-12F46027670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C2667D15-A420-DEEA-7ACF-C3E7BAE5EDD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Oval 475">
                <a:extLst>
                  <a:ext uri="{FF2B5EF4-FFF2-40B4-BE49-F238E27FC236}">
                    <a16:creationId xmlns:a16="http://schemas.microsoft.com/office/drawing/2014/main" id="{499E0522-9BDF-3E36-FD98-E4D83C5FE3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8C4BECCF-F1C2-EDAC-51CB-F348C9145FE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97A6C84F-BEF0-BAAB-3343-F35BE1FF687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C0501404-BBC0-53FC-D18C-0AE97F6B76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EBE67F1B-B4C7-E8D5-7652-99FE5E3B485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FC5ABC24-827A-70D0-FC79-4ACBCC918AB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9" name="Group 438">
              <a:extLst>
                <a:ext uri="{FF2B5EF4-FFF2-40B4-BE49-F238E27FC236}">
                  <a16:creationId xmlns:a16="http://schemas.microsoft.com/office/drawing/2014/main" id="{D0FAF717-DBB6-03AA-1047-D28ED827E408}"/>
                </a:ext>
              </a:extLst>
            </p:cNvPr>
            <p:cNvGrpSpPr/>
            <p:nvPr/>
          </p:nvGrpSpPr>
          <p:grpSpPr>
            <a:xfrm rot="5400000">
              <a:off x="1055270" y="-284344"/>
              <a:ext cx="86591" cy="1729654"/>
              <a:chOff x="85292" y="59892"/>
              <a:chExt cx="86591" cy="1729654"/>
            </a:xfrm>
            <a:grpFill/>
          </p:grpSpPr>
          <p:sp>
            <p:nvSpPr>
              <p:cNvPr id="462" name="Oval 461">
                <a:extLst>
                  <a:ext uri="{FF2B5EF4-FFF2-40B4-BE49-F238E27FC236}">
                    <a16:creationId xmlns:a16="http://schemas.microsoft.com/office/drawing/2014/main" id="{0DA26CD0-859B-43BC-A77F-F209A0AD4F8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EB6747BD-3271-A8B2-466D-35C16CB03B5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4E02AFDF-72D8-256F-F847-906C5E15D1C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D6FE7FF2-2591-2E12-D26E-CB6A8A4ECD6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6" name="Oval 465">
                <a:extLst>
                  <a:ext uri="{FF2B5EF4-FFF2-40B4-BE49-F238E27FC236}">
                    <a16:creationId xmlns:a16="http://schemas.microsoft.com/office/drawing/2014/main" id="{DCD89602-1654-10ED-20B5-E33C5C8EA3C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80696E30-E697-126D-C334-D4A3DDD5B8E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5744BD7B-623D-FFEB-2651-443F66EFB05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F55472D0-EAF7-AE85-33E6-992AF83A699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9CA21E0D-A930-B513-1768-3341139BA22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8C287BB4-372B-F441-6F7D-E4D95D0F6A7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0" name="Group 439">
              <a:extLst>
                <a:ext uri="{FF2B5EF4-FFF2-40B4-BE49-F238E27FC236}">
                  <a16:creationId xmlns:a16="http://schemas.microsoft.com/office/drawing/2014/main" id="{4C0F68AC-8C2D-B386-5F53-CAD43CA26E18}"/>
                </a:ext>
              </a:extLst>
            </p:cNvPr>
            <p:cNvGrpSpPr/>
            <p:nvPr/>
          </p:nvGrpSpPr>
          <p:grpSpPr>
            <a:xfrm rot="5400000">
              <a:off x="1055270" y="-30452"/>
              <a:ext cx="86591" cy="1729654"/>
              <a:chOff x="85292" y="59892"/>
              <a:chExt cx="86591" cy="1729654"/>
            </a:xfrm>
            <a:grpFill/>
          </p:grpSpPr>
          <p:sp>
            <p:nvSpPr>
              <p:cNvPr id="452" name="Oval 451">
                <a:extLst>
                  <a:ext uri="{FF2B5EF4-FFF2-40B4-BE49-F238E27FC236}">
                    <a16:creationId xmlns:a16="http://schemas.microsoft.com/office/drawing/2014/main" id="{59220327-3603-C74D-B2B9-B06CDE6D1C8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3" name="Oval 452">
                <a:extLst>
                  <a:ext uri="{FF2B5EF4-FFF2-40B4-BE49-F238E27FC236}">
                    <a16:creationId xmlns:a16="http://schemas.microsoft.com/office/drawing/2014/main" id="{BEB72E41-40B5-1C14-5202-442E9BED98A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4" name="Oval 453">
                <a:extLst>
                  <a:ext uri="{FF2B5EF4-FFF2-40B4-BE49-F238E27FC236}">
                    <a16:creationId xmlns:a16="http://schemas.microsoft.com/office/drawing/2014/main" id="{D7554B70-148D-9774-54BA-56EA130C9CC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5" name="Oval 454">
                <a:extLst>
                  <a:ext uri="{FF2B5EF4-FFF2-40B4-BE49-F238E27FC236}">
                    <a16:creationId xmlns:a16="http://schemas.microsoft.com/office/drawing/2014/main" id="{31ADAE84-D88A-E064-63D2-C01168494ED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Oval 455">
                <a:extLst>
                  <a:ext uri="{FF2B5EF4-FFF2-40B4-BE49-F238E27FC236}">
                    <a16:creationId xmlns:a16="http://schemas.microsoft.com/office/drawing/2014/main" id="{FE1E2864-301C-E16D-044C-0DDBDC81015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A45C2F30-9FD9-808F-BF42-678031EB6D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CB8A8D3B-258A-C407-1953-62A7A3B1C9C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165D3D9B-7EA7-29CD-605A-3F5CB150F2C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19664023-5290-9DB1-1CAB-90419D6D1CD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08DCC8B9-9288-28D9-15B3-B6782778EE5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1" name="Group 440">
              <a:extLst>
                <a:ext uri="{FF2B5EF4-FFF2-40B4-BE49-F238E27FC236}">
                  <a16:creationId xmlns:a16="http://schemas.microsoft.com/office/drawing/2014/main" id="{1A617701-0560-3F63-E334-64B0F8FD153C}"/>
                </a:ext>
              </a:extLst>
            </p:cNvPr>
            <p:cNvGrpSpPr/>
            <p:nvPr/>
          </p:nvGrpSpPr>
          <p:grpSpPr>
            <a:xfrm rot="5400000">
              <a:off x="1055270" y="223441"/>
              <a:ext cx="86591" cy="1729654"/>
              <a:chOff x="85292" y="59892"/>
              <a:chExt cx="86591" cy="1729654"/>
            </a:xfrm>
            <a:grpFill/>
          </p:grpSpPr>
          <p:sp>
            <p:nvSpPr>
              <p:cNvPr id="442" name="Oval 441">
                <a:extLst>
                  <a:ext uri="{FF2B5EF4-FFF2-40B4-BE49-F238E27FC236}">
                    <a16:creationId xmlns:a16="http://schemas.microsoft.com/office/drawing/2014/main" id="{C08EB8EC-DCAB-5BF4-5DD6-B1919EDC25A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3" name="Oval 442">
                <a:extLst>
                  <a:ext uri="{FF2B5EF4-FFF2-40B4-BE49-F238E27FC236}">
                    <a16:creationId xmlns:a16="http://schemas.microsoft.com/office/drawing/2014/main" id="{86895899-6AB7-B82C-E3AE-49132E271DE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Oval 443">
                <a:extLst>
                  <a:ext uri="{FF2B5EF4-FFF2-40B4-BE49-F238E27FC236}">
                    <a16:creationId xmlns:a16="http://schemas.microsoft.com/office/drawing/2014/main" id="{B53347CA-8CE4-4678-7568-DA51817CD4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5" name="Oval 444">
                <a:extLst>
                  <a:ext uri="{FF2B5EF4-FFF2-40B4-BE49-F238E27FC236}">
                    <a16:creationId xmlns:a16="http://schemas.microsoft.com/office/drawing/2014/main" id="{FADCC754-3FC9-28F8-37B8-E069436A0A4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6" name="Oval 445">
                <a:extLst>
                  <a:ext uri="{FF2B5EF4-FFF2-40B4-BE49-F238E27FC236}">
                    <a16:creationId xmlns:a16="http://schemas.microsoft.com/office/drawing/2014/main" id="{B1E0B6FC-7D13-E261-A260-8C11455BC99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Oval 446">
                <a:extLst>
                  <a:ext uri="{FF2B5EF4-FFF2-40B4-BE49-F238E27FC236}">
                    <a16:creationId xmlns:a16="http://schemas.microsoft.com/office/drawing/2014/main" id="{8375826F-4EBC-16A2-B323-74B30C8620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8" name="Oval 447">
                <a:extLst>
                  <a:ext uri="{FF2B5EF4-FFF2-40B4-BE49-F238E27FC236}">
                    <a16:creationId xmlns:a16="http://schemas.microsoft.com/office/drawing/2014/main" id="{3B94A653-CD23-30EC-E492-23458BA0CE1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9" name="Oval 448">
                <a:extLst>
                  <a:ext uri="{FF2B5EF4-FFF2-40B4-BE49-F238E27FC236}">
                    <a16:creationId xmlns:a16="http://schemas.microsoft.com/office/drawing/2014/main" id="{EAF4668A-67BD-8202-9F56-B92A1CE5B33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Oval 449">
                <a:extLst>
                  <a:ext uri="{FF2B5EF4-FFF2-40B4-BE49-F238E27FC236}">
                    <a16:creationId xmlns:a16="http://schemas.microsoft.com/office/drawing/2014/main" id="{C78D1A5C-4739-B088-60C6-2E4B9336CA3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1" name="Oval 450">
                <a:extLst>
                  <a:ext uri="{FF2B5EF4-FFF2-40B4-BE49-F238E27FC236}">
                    <a16:creationId xmlns:a16="http://schemas.microsoft.com/office/drawing/2014/main" id="{5B7E8135-5219-6FDB-B33A-F7B9670B13A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943571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9B0A4AA4-EB95-F11E-C5CC-EE910DC44F40}"/>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E5E9B6A4-5D30-E4E4-E8A7-9ECFA904513E}"/>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D559B658-F1DD-4235-A315-5FA31630973F}"/>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741F1DEF-32DD-40D0-B63D-396863A5080A}"/>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80318C4-BCDD-4311-A18F-9265B87A270B}"/>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F8973AD-05F9-F059-39A5-2A043014EF8F}"/>
              </a:ext>
            </a:extLst>
          </p:cNvPr>
          <p:cNvSpPr txBox="1"/>
          <p:nvPr/>
        </p:nvSpPr>
        <p:spPr>
          <a:xfrm>
            <a:off x="4197598" y="4870863"/>
            <a:ext cx="8817134" cy="1569660"/>
          </a:xfrm>
          <a:prstGeom prst="rect">
            <a:avLst/>
          </a:prstGeom>
          <a:noFill/>
        </p:spPr>
        <p:txBody>
          <a:bodyPr wrap="square">
            <a:spAutoFit/>
          </a:bodyPr>
          <a:lstStyle/>
          <a:p>
            <a:pPr algn="l"/>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Overview on MMs and  HMMs</a:t>
            </a:r>
          </a:p>
        </p:txBody>
      </p:sp>
      <p:sp>
        <p:nvSpPr>
          <p:cNvPr id="25" name="Freeform: Shape 24">
            <a:extLst>
              <a:ext uri="{FF2B5EF4-FFF2-40B4-BE49-F238E27FC236}">
                <a16:creationId xmlns:a16="http://schemas.microsoft.com/office/drawing/2014/main" id="{1FECBB27-E553-DE04-FA1E-E8E6667417C2}"/>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1FFC48DA-1934-655B-47C5-5959B75E5260}"/>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6AD515FD-447B-9A8C-572F-C2DCB1BDA34C}"/>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E24817DC-B8CB-D657-AC49-EE39BBF9AF13}"/>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09275B-013E-85EA-469C-E7F9BC7AFB55}"/>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D0B0696A-2218-6920-E17A-5CC2AD1F331C}"/>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1</a:t>
            </a:r>
          </a:p>
        </p:txBody>
      </p:sp>
      <p:grpSp>
        <p:nvGrpSpPr>
          <p:cNvPr id="170" name="Group 169">
            <a:extLst>
              <a:ext uri="{FF2B5EF4-FFF2-40B4-BE49-F238E27FC236}">
                <a16:creationId xmlns:a16="http://schemas.microsoft.com/office/drawing/2014/main" id="{57FB06CF-A6F7-2E10-1CEC-EA4D550B782E}"/>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73F6F5C0-D8ED-13C2-DEBD-74ED07E92783}"/>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F21A6AC3-DC9D-C3C4-CC36-B8CCCAD19CB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CFA9DB67-733D-0870-7D30-9342DB290C1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3E0FEF20-83AF-C5E5-94F5-E0E4BF95276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842CF01B-464B-BA4E-1277-AEA769B117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0458A2D7-3CF0-8767-3BB3-0D2EA9EB85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FBBD8558-113A-0484-FC3D-BC729EE12F2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2A995324-7F18-1B9F-DAA4-BEA97C29D2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F10689E9-EE1C-8ED5-B8AA-1C4CF277E86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90336ABD-C3BC-096C-DE67-CF85CB9D6DC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9958E960-843E-8642-A569-EF621F6A110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547C07A7-157D-959B-AC17-1E8A005F59D2}"/>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78469FDA-BB1E-E677-F957-605A624AB5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113B0F68-1FAE-959D-52F9-A6C03D191A4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C008C2A4-FFFF-7710-3A3C-85277725396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A201C097-97FD-E569-30AE-669B9C821E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78007BD2-9058-F9C3-F95C-553008FDD97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970600CF-547A-335F-6672-6E06FF668C6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169DDD03-69C0-17F6-74BE-EC314CB67FD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6EEE2166-9058-3088-3E22-37A9A39EBEC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5EAD9858-CDFE-80D2-85D9-F8B62D57A78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CAA8D208-6A84-412D-2CC6-0908BED2AE1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BA693B97-5083-E59F-EF73-FF29E93D765D}"/>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2F9D3E5D-785D-0FFC-07FF-E1DC84152CA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95D058FF-0347-AFC0-6921-856D73254C2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AFAB21A6-0AB3-A4D9-FE09-25BD13A4902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5BF685C4-5F93-3EA1-1C15-33B4AEEE791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511D6073-70BB-13DA-68A5-78BC6065CE2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3B23D271-6ADB-D657-4CF9-29923AAA0EC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D63B1AF9-FBA9-A017-FF3D-B835AD26587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1F94BEF7-F4CC-ECFC-CB24-BAF11047827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2A77C58E-2981-6564-1735-0B37D625D94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0DEEE5C0-DBCE-862C-FD2B-12F073E5163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70506B79-B6A1-053E-117A-14C3FE810966}"/>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2CBDBC5C-7569-BE5E-79F9-1063BA5022C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C2B2D809-79A2-56C7-52E6-3B5E81D7FD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9A08BA3D-7C39-FD51-76CB-AD6523C24E3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99F44FEC-8513-1E50-38B4-AFE30037CD5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1C943E10-1E91-1AEF-F8E2-A54DD8A622D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5CE79791-B138-A0E2-8C2D-C0D037CC63E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2463A4F1-3AE6-5CB6-B7FE-716F08C3E8B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0757CB5F-6028-2E74-2BDF-FACF83AE5E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6628179E-46F9-88F5-1842-503AB7060B5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3B60B615-2D67-6539-E500-28DC034CAE2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59828E87-3332-DA6D-4CEC-7DD6D243AB57}"/>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CAABA9C3-7F3C-C6A4-46D2-A34C004E323A}"/>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D9A583E5-7E9D-DDB9-11A4-F0F7E1DA588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915BA8A8-C5E8-2AEA-49DA-23D688D9CF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1E1BD782-6A72-5C34-CB8B-4FACF63B1EF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FAF97A2D-D924-B11B-AEBE-354ACD625A1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D81612DD-16AE-B60A-2462-BB64C8E54F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AB3E84E9-460A-90A0-7485-04D3C2A6B5C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05423C2F-A9D2-0F84-B16C-D2B36B6988A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D9FCFE7E-24FB-946A-C3FC-F31F192BD8C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857B40F3-1FE2-94EF-0C39-5245A4410F0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4936220B-712A-D948-4307-398915B4732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47DDAB11-E28F-8297-DCF5-C9E77DC44CFC}"/>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DE91375D-AAFA-7A86-F9F5-E363B9037E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EA12BB9E-87B2-51F3-1FB0-8E1731662A7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28357986-B8E3-9DAE-293B-9BDCC636055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59B650DE-A130-172C-D41A-0D9813AF952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1A3C6437-CD57-57DE-D0AA-8CDC954253C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3BB0A433-EE34-1368-0FC7-4F9C61A5B3E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5BADC7DE-4941-70E5-4CD1-1B7412EFD1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2D3E4E7B-3AA9-477A-B18E-1DEF9875844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9DD55FDC-5114-D7FF-4299-E6DF2AFB30B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312E2954-CE99-703F-EB2E-7619BBE677B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5B5C00EE-35E1-9A0B-F65C-349A6C56C4FE}"/>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85DD6881-E1F0-A85E-230B-80E071999E0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A9CC2492-E365-13D6-B66D-F1E517A2993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5C9630DB-B131-519D-4775-D8F2AFFA7DB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D3FE86D5-EDD1-B961-4FD8-FECDAB31C58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631F9E63-A9E1-CF42-7D03-C3CFAF9ED45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28F40248-1956-805F-F487-CBF3D9395F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A01A940C-4501-38BB-9ACB-8FFD9D3888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033971C5-9BCA-9B22-00F6-FA5700A72A5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25227EE5-C543-9934-BAE7-D0A15451E32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02CC8066-2C1F-A121-F94C-B459EC1B8A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7B16B9C4-5259-057A-0D16-E228D947BF17}"/>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6BD30383-7733-A903-F5BF-0AC15C38115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AC9AEB4A-FC88-3D89-999D-4AAA535B31D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330FAF3C-B6EC-8478-F121-BE7916950FE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DFCE454C-A2F4-452C-7405-269A75B118F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938FC42A-B723-EEA1-8D63-6429CC9716F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2BE1AC23-0504-8640-D64B-73374C61010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6ED98EAC-AF86-6D3F-6C19-E7B312C543C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4A48AB15-CBEC-56D4-21A7-73C2C63EFAD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117EF2F1-3095-09B5-F064-50040D5D6A8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20D993BA-06C4-7954-B647-E1E634C9AAD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E60BD091-B7BA-3C28-666E-779CF8CE74F4}"/>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72122343-0626-814E-A847-8941FFBAA63E}"/>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1338DBA6-E7F5-F08A-F9E3-74141E10921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A6B45CA8-0FFC-719E-E390-BB38F69E548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8858257F-FEC0-BDB2-12DB-D78DF5708CA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B62C7CDC-6EAA-31F2-6EB7-3A7D648265E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37466580-93AB-A2C3-E47A-6359FCC67D8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0F9101BD-F3C5-215D-57B6-9F250CEFECF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95A3AC87-095F-68CF-D7E7-FCB7AB65409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B36E1B92-CB9C-5662-8242-AB4E68362B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DF77C010-F522-EF95-2C11-81A38BEE92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AD011E9B-D965-1ADF-BA9C-B8AD795C544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29EDDEDA-C5D2-0832-CC0B-BE9CA3D2B22F}"/>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95A97590-737D-266F-B451-C0B7BF6D269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508E5958-EE62-DA45-FF62-04B67AE993C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D8A373FF-A532-DEC8-DB20-6755E3769F7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851FC21E-63E3-76CB-2C90-F56E23EFA5A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0876C931-95FA-CB6E-AE51-925C8AF720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832D8537-E8C6-7F1C-6AB8-10029376697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9A4549A0-1A2B-8CE2-73F3-377B43913CC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5D0BD00D-5056-697E-1172-598362B3D4D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CA8FD9E0-1A0B-5151-9885-103C5940CC5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56A08614-291F-E2CE-3A9B-1538FDD012A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E243BC45-F21F-0781-9655-0A81D7584E3B}"/>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E6E887A1-5C68-5EB5-2DFB-607BD8E3582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07D58F6A-B212-430D-92EE-5CD905A25C5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7607D4F6-5CE8-C9F0-3A9D-9D167005AD2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8FAFB1A9-42BD-672D-A736-425F120A757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912F6FD5-D00A-8AC3-FD44-E14791F039D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F261FFE5-4601-2E26-03AE-77730C5E098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54E2DCBD-9B50-A2DA-79F4-C08647669E8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E3DC9F25-A884-41B5-9267-002BA5A4A71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1DB9DA0A-ECD7-6AC5-2DC5-F1D657E44D2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0CE6E6BD-EE06-3F6B-D20F-43DF3A097E4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7C328528-2F3C-5EBD-06ED-3C5C2ECEBEEA}"/>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EA912BE9-C826-B9E6-302C-26309CE605E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DA1EF1AD-4530-4EEA-62A4-4C193F664BB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041AD445-F8D1-542A-2A83-2065DA5D8E7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5A660169-8780-D349-6292-C2B98111BE2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1639A304-9FEB-F180-69A4-326FFB1D44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16DF7D18-DBF4-A89B-6505-98709BDB1C2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D4C43D15-C4A6-BE6D-458F-B6A46DD66E3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69B53A76-C0F9-700A-B007-14C8F63E496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3EBEE548-A4BF-1CFB-1790-5A9B3D68909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7017741B-DC64-8AC2-4DA6-76BB3822FAE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AD400B27-52E2-2BB2-9F32-04D709982063}"/>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07263017-66D6-B4B0-6C17-5AA72A2A1EEC}"/>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FE193B68-1C17-FFE1-ACF2-C7589E6CD27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45131CE8-B717-AE33-21AF-4BDA1B91863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7DA568E1-8213-3A9B-76AB-C5920705759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7F3C3558-7644-893C-85DD-AC111AF3230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2CF53A40-2304-9CED-F631-A8F6FE8DA73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22253CEF-82E6-98E1-78A2-F8BF0F38AB5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0F87A8B6-6E3C-235F-C8AC-70EF9B07B0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308CA827-6808-5E47-2E5B-828D55650A7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8184B42D-B44E-611D-C3B3-FFEC245319C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95BA2583-8AA8-5393-FC3A-9C760D31EA2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C5A177B8-D290-9620-BBC6-A5CF186AC185}"/>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5529515C-E95F-198B-DEF0-BCF0813C42A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4F3B1A72-090E-E34D-FF1E-A95F5F326DE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414D406A-6759-AEB4-F163-E50B02B4C9E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9DB15BCB-78FE-8B27-0637-6EB86FFE670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6F8A3444-5315-0341-8056-645965D2D04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16325E8E-8823-6A88-3B54-7A89D68D048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5F12D789-7B6D-27A2-7CCC-89CE65F525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89121D63-ED0F-EF99-B5CF-358E25AAF10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3AC8DD0D-E638-FDAC-0DA7-7FB797AC87A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11C2EA26-D282-9581-6DC3-46000484F4A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78FE7D8F-71F8-63DA-92B7-747822E06F82}"/>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651CD760-5DC5-6194-6AC6-F24E20DDAB2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52F455B4-DB2C-74B9-1D5A-E902550DB81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F1156EC0-B036-187E-6D8A-4C0FE813E03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8E6EAEB2-B17B-D3A7-84FE-19FA74B45A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BABE9C7A-C770-BE42-BC59-CFE1B0585FD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60EA60A4-A07C-1DC9-8C81-E1C26F75C76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29974BCB-1986-954F-2441-1F0CE8812D0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18E1174A-5607-14EA-3ACB-92869452091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A67CE956-2979-17B0-5582-44D7078E06D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163D54A5-3081-B019-00B5-062373368B2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7910E7D1-2D5D-C3B9-239A-18CA5F8FF0AF}"/>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913E2406-2AB4-F551-3549-BD5C6141144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097C29A7-4717-59A2-33F0-974E7F4CDDB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CBA888E1-B2BC-BDCD-1FF2-C99D48FB3B0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877C95D4-14AF-A7D3-0E05-ECEFBB57EFF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A283B724-872D-C6C1-7E3F-7C11CB082B1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D84749B3-06CD-77F1-6797-A4E4047F0CF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A8054406-56F5-870B-94B9-71964F458E7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47C2EEA0-6C94-C229-11D4-CAC5DBE9D21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DE6E9E83-D21B-9E45-7FD8-644ADC11F95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A0281521-A6D8-F458-FCFE-3D954AF2A03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2E18BE23-FC5C-53F0-3087-E9CCC58C1B84}"/>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12CF07E6-0B79-956E-DEC4-4AFDF02870CE}"/>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2BA547B1-DCE6-652E-0861-9FF0CC846F24}"/>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22C276AE-211E-FDC1-B275-EEC1345BC052}"/>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AE10DA76-687F-978A-8D9D-D012C27F0D0B}"/>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2F65349E-D69D-8F5C-B62A-894C6DD969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2630D327-D9DE-913B-7DD5-37C8071FB83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F14A602F-8032-69CF-C43B-4E0D60E0749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7ACEE813-F0E6-27B7-965E-30CE456C9D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92C0BA33-2667-13AA-248B-A984CD241B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FE171FE3-AC1F-A337-C546-DC2501E4346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B8347F71-A75C-EBC8-E5FA-9D11B0CD5E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8A92151F-6092-2D53-07FA-1FB5AEBBADF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68A4C9B2-7968-1B79-0E4C-D0EC32948B4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CA7EBDE7-AB29-B3AA-B0DE-BD2AE5A026D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03E92248-98A2-059A-D0AE-0F24C05B8C95}"/>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695A711B-8CED-5B32-5319-CB299193DE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D0FB95E9-C211-B6AF-046C-7E148278786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A31E685A-20DB-5BD5-308C-0AC79F539EA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69C1D1EF-A83C-890E-E33C-9B43BA4543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CDEBE513-D519-6ACB-47B5-03BE8FFD1E5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F560FC78-4F85-4F0C-89AB-98F3B57F5E6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C2CEB211-6CF7-D47A-B45A-1505EEA2742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C0583CBE-1CD8-F99B-755C-48DCC52E78A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341AB8AD-56DB-22AF-FB22-3C65FB951DD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740A6BB7-4775-9671-FC73-74533F07EA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7A3C9626-64CA-534C-8A69-47C26FC45E43}"/>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73A3C262-7DD3-94FD-F1AB-6013046A6D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47B900F5-0D34-46DA-89BD-39D9957F6E1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67BB5C7E-CBA0-55A1-65DF-DBCED79262A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5F5D0FD5-DB4A-B0F6-EFC3-C7C4FB594F0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602ADDC5-AB1E-FFAD-E5E7-F6D40F408F2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2B5FA2B6-AC15-E1AA-E0B3-3AE6B5F91A2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075403DC-906E-84CF-64C7-DAC1E455686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A087DD82-4283-48E1-B496-A5A35592D84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EED67D11-014F-9BEA-CCC2-6F2AB4F992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F764669A-C399-EE98-CE8F-FA03025BDE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1CA69E0A-8C45-29DE-BD37-E99772121FC6}"/>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2C79FCE3-6285-904D-DAD2-4D7CF66B444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787BED7C-7020-E2CF-29D8-6ADED18194C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847BFEDB-D01F-98F2-1A9F-E8101848DD7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31198EBD-F6CE-539F-E971-4296027525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99639B1B-438F-CBFD-1245-6B4180E1E51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86B4CC28-2085-4E76-4535-DB6F0823EA1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2F4BEE8A-A5C9-67CA-2567-0D698329B7F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81822E0A-F8E1-A42D-1AD8-BFDFB45E92D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76C51D25-856A-3991-49EA-70425C9DC7E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15BF3F51-1277-7060-4E9D-3ECA73D0D31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61355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0F5436C6-62E2-2B4A-8F8D-5BA918D97A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0F5436C6-62E2-2B4A-8F8D-5BA918D97A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D8232CC1-F371-58D2-5738-BED08BDD2D70}"/>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22687E12-08A9-DFF7-D377-D1941D10FB58}"/>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22C04704-1E1E-7430-EAF5-DCEEBF933894}"/>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09D0DE88-8827-B2A5-3DAC-89C73B9FAEC1}"/>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9718C5CB-A038-73CB-1DA8-02CB7D44082B}"/>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B03E06F1-8ABE-6D1E-1B75-BF133353D112}"/>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5" name="Rectangle 254">
            <a:extLst>
              <a:ext uri="{FF2B5EF4-FFF2-40B4-BE49-F238E27FC236}">
                <a16:creationId xmlns:a16="http://schemas.microsoft.com/office/drawing/2014/main" id="{3B73CB2D-5DB5-C246-2056-DA0A2F140847}"/>
              </a:ext>
            </a:extLst>
          </p:cNvPr>
          <p:cNvSpPr/>
          <p:nvPr/>
        </p:nvSpPr>
        <p:spPr>
          <a:xfrm>
            <a:off x="771846" y="196724"/>
            <a:ext cx="5308183"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Markov Chains :</a:t>
            </a:r>
          </a:p>
        </p:txBody>
      </p:sp>
      <p:sp>
        <p:nvSpPr>
          <p:cNvPr id="259" name="Rectangle 258">
            <a:extLst>
              <a:ext uri="{FF2B5EF4-FFF2-40B4-BE49-F238E27FC236}">
                <a16:creationId xmlns:a16="http://schemas.microsoft.com/office/drawing/2014/main" id="{E5709200-13F4-8415-565C-8B04FC16F4EF}"/>
              </a:ext>
            </a:extLst>
          </p:cNvPr>
          <p:cNvSpPr/>
          <p:nvPr/>
        </p:nvSpPr>
        <p:spPr>
          <a:xfrm>
            <a:off x="1038480" y="1313763"/>
            <a:ext cx="9290126" cy="2246769"/>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b="1" cap="none" spc="50" dirty="0">
                <a:ln w="9525" cmpd="sng">
                  <a:solidFill>
                    <a:schemeClr val="accent1"/>
                  </a:solidFill>
                  <a:prstDash val="solid"/>
                </a:ln>
                <a:solidFill>
                  <a:schemeClr val="bg1"/>
                </a:solidFill>
                <a:effectLst>
                  <a:glow rad="38100">
                    <a:schemeClr val="accent1">
                      <a:alpha val="40000"/>
                    </a:schemeClr>
                  </a:glow>
                </a:effectLst>
              </a:rPr>
              <a:t> a stochastic model that describes a sequence of possible events in which the probability of each event depends only on the state attained in the previous event. In other words, the future state of the system depends only on its current state and not on the sequence of events that preceded it.</a:t>
            </a:r>
            <a:endParaRPr lang="en-US" sz="2000" b="1" spc="50" dirty="0">
              <a:ln w="9525" cmpd="sng">
                <a:solidFill>
                  <a:schemeClr val="accent1"/>
                </a:solidFill>
                <a:prstDash val="solid"/>
              </a:ln>
              <a:solidFill>
                <a:schemeClr val="bg1"/>
              </a:solidFill>
              <a:effectLst>
                <a:glow rad="38100">
                  <a:schemeClr val="accent1">
                    <a:alpha val="40000"/>
                  </a:schemeClr>
                </a:glow>
              </a:effectLst>
            </a:endParaRPr>
          </a:p>
          <a:p>
            <a:pPr marL="342900" indent="-342900">
              <a:buFont typeface="Arial" panose="020B0604020202020204" pitchFamily="34" charset="0"/>
              <a:buChar char="•"/>
            </a:pPr>
            <a:endParaRPr lang="en-US" sz="2000" b="1" spc="50" dirty="0">
              <a:ln w="9525" cmpd="sng">
                <a:solidFill>
                  <a:schemeClr val="accent1"/>
                </a:solidFill>
                <a:prstDash val="solid"/>
              </a:ln>
              <a:solidFill>
                <a:schemeClr val="bg1"/>
              </a:solidFill>
              <a:effectLst>
                <a:glow rad="38100">
                  <a:schemeClr val="accent1">
                    <a:alpha val="40000"/>
                  </a:schemeClr>
                </a:glow>
              </a:effectLst>
            </a:endParaRPr>
          </a:p>
          <a:p>
            <a:pPr marL="342900" indent="-342900">
              <a:buFont typeface="Arial" panose="020B0604020202020204" pitchFamily="34" charset="0"/>
              <a:buChar char="•"/>
            </a:pPr>
            <a:endParaRPr lang="en-US" sz="2000" b="1" spc="50" dirty="0">
              <a:ln w="9525" cmpd="sng">
                <a:solidFill>
                  <a:schemeClr val="accent1"/>
                </a:solidFill>
                <a:prstDash val="solid"/>
              </a:ln>
              <a:solidFill>
                <a:schemeClr val="bg1"/>
              </a:solidFill>
              <a:effectLst>
                <a:glow rad="38100">
                  <a:schemeClr val="accent1">
                    <a:alpha val="40000"/>
                  </a:schemeClr>
                </a:glow>
              </a:effectLst>
            </a:endParaRPr>
          </a:p>
        </p:txBody>
      </p:sp>
      <p:pic>
        <p:nvPicPr>
          <p:cNvPr id="263" name="Picture 262">
            <a:extLst>
              <a:ext uri="{FF2B5EF4-FFF2-40B4-BE49-F238E27FC236}">
                <a16:creationId xmlns:a16="http://schemas.microsoft.com/office/drawing/2014/main" id="{26EDE7E1-E6D6-34D6-F6C8-4B202E32864A}"/>
              </a:ext>
            </a:extLst>
          </p:cNvPr>
          <p:cNvPicPr>
            <a:picLocks noChangeAspect="1"/>
          </p:cNvPicPr>
          <p:nvPr/>
        </p:nvPicPr>
        <p:blipFill>
          <a:blip r:embed="rId8">
            <a:biLevel thresh="25000"/>
            <a:extLst>
              <a:ext uri="{BEBA8EAE-BF5A-486C-A8C5-ECC9F3942E4B}">
                <a14:imgProps xmlns:a14="http://schemas.microsoft.com/office/drawing/2010/main">
                  <a14:imgLayer r:embed="rId9">
                    <a14:imgEffect>
                      <a14:artisticTexturizer/>
                    </a14:imgEffect>
                    <a14:imgEffect>
                      <a14:sharpenSoften amount="50000"/>
                    </a14:imgEffect>
                    <a14:imgEffect>
                      <a14:colorTemperature colorTemp="5900"/>
                    </a14:imgEffect>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411138" y="2683305"/>
            <a:ext cx="4964255" cy="4130026"/>
          </a:xfrm>
          <a:prstGeom prst="rect">
            <a:avLst/>
          </a:prstGeom>
        </p:spPr>
      </p:pic>
      <p:sp>
        <p:nvSpPr>
          <p:cNvPr id="230" name="Oval 229">
            <a:hlinkClick r:id="rId10" action="ppaction://hlinksldjump"/>
            <a:extLst>
              <a:ext uri="{FF2B5EF4-FFF2-40B4-BE49-F238E27FC236}">
                <a16:creationId xmlns:a16="http://schemas.microsoft.com/office/drawing/2014/main" id="{A100E577-C864-A16B-2451-9B617B8C576E}"/>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6C348E0A-F8CD-FE45-112B-11A675034167}"/>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41DD70BA-721B-A3F5-FCD3-D31231C497E1}"/>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9383272A-59C2-7179-44A4-25C44F4E2C0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D365F4F8-D404-FCDA-9F0B-F29B9300659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B2281D9E-01F1-2B32-31B5-6DF90C54FA3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567FF8FB-CAB3-CB0C-02E8-2E428D05FBE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5A3F174E-1314-AA24-C665-0FA8EBB8862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7B132D6A-A670-2B65-27ED-69A62DBE805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B57CF399-D811-E11B-663E-B041FA63E6F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EC1CBBD1-F565-B6DD-E767-647E5C1763E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C68F5664-EEFD-178B-CFA8-226553AC1D7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E28E7FB2-7A83-BE52-E003-99114BBA5A6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485C2F9F-E7FB-A202-3797-8654BB0A4818}"/>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320BC8A7-6E41-DD90-587C-029340B7098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84C396C7-7D21-E9BD-749C-D7420576659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C01F33A-4F67-D648-1677-BA45B3CE895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77CF298B-225D-E800-DB3D-1A02CF209AA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634BBF96-2280-F9CB-2B2A-4C76793400E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0A1B092D-A288-68BA-260D-C4BB9DEC633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C4916349-4547-8F43-9325-A14C7DD6AFD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3B6CD5ED-2A9F-E834-189A-35EE071514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469AFA57-2736-1DA1-DDF4-735C5BBD8D6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48B1B616-9831-31B2-5DD5-107E136BF12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C1290202-2390-7EFA-28A0-80332CFA2F29}"/>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33253925-0B94-FD8E-5363-AB465594FC6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5C128308-8F1F-1A8E-B83C-58E95D2FDC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79C6240-8D28-4D4C-F417-2372BBA478F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3EC9DA8-0CF5-66E9-2805-9E4895BE5B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7A600F32-9783-F90F-A562-73981DDDC69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C970A83B-9E46-FAF0-1BB5-94964C6220C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59F5FE7-8D6F-60F1-59B1-04384315DA0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9E990D4-D016-5114-8A5A-992D2700BEB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7FF3062-9CC8-70F0-804E-56B069BF414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570E40CE-3B45-29B7-AE4D-5562ECBE795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E7E7BE3D-E6CB-8B81-6397-C5BDE3A55761}"/>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7E3E07AF-4A53-A603-09C3-6356E672E2F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D4BEA61-3523-62A3-B1BF-12E2BB9D8A6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371B3F-8772-E9AE-FF06-E94EBF6EC86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D8B1F92C-56DD-6CA1-CEFC-E8DD7F19F52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204EA94-6E7A-EAB1-DF2F-51DFBCF166B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9544C189-D54E-C344-0512-FD650A937F4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3E43C8E-1B1E-96EC-060F-FACC67888AC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CD8840AF-445C-5B6A-9AF2-2F65287BABD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E93FB4F-488C-80F0-0B93-79AD7CA20F2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8CFC788F-45E9-0416-1A62-F55174528B3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6" name="Group 235">
            <a:extLst>
              <a:ext uri="{FF2B5EF4-FFF2-40B4-BE49-F238E27FC236}">
                <a16:creationId xmlns:a16="http://schemas.microsoft.com/office/drawing/2014/main" id="{59786DAB-9545-1FDE-4151-E47FE8CCE019}"/>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7E8A01C1-19DF-3DE4-8EAC-A8C66B2A15AB}"/>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1E68A38C-46F3-9C9D-11A1-07E368C1DD13}"/>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9F676374-A25A-6A07-62EF-6310BCFECE88}"/>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E88B24A8-38AD-FDDB-E231-28A1054F2B33}"/>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77A2B257-4B04-FCA5-A19C-5BDD901A6C02}"/>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22B42EA1-3DF5-EC28-0CDF-33F6F6859F4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861791B0-B620-0E3D-05DF-1A72390C5F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E9620365-8DF7-3484-3814-429F31EBCCC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9C743C74-2AFD-EFE8-53A2-EB551A68A1A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8FB72CC2-F9DB-7F9F-8883-E132848680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F06AFEF9-66E7-CEEF-3682-95408D8ADF3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5E45B077-8A84-95EE-8286-EBD6512AC54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310D98FC-F2AB-D8B3-520A-5E84CDB9342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B4D76264-453B-0291-EA61-4573352A55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5FBDD367-4911-5223-ED72-09B6864543E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5C17C478-7E9F-DBC4-6098-C462714E8E99}"/>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DA550A38-E587-8D0C-7D69-348CFA60715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BCCFB559-9135-7E39-48F4-77F89158B5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0A9DD796-E333-3167-34B9-ED6FD0BBA84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14750C94-F8B2-4B86-E6DD-AECBB58D878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1E4D018D-7E1D-632E-BB4D-4FA7EC4A71D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6426A209-63CC-A191-0DCE-9763D53F96B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43705E58-D24A-DD0F-DBA6-DA05DCB50EC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D4EC23AF-3030-EEC2-EF98-E31E9966E0B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C592C849-5897-49E4-FBB9-6C0BEAD4054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98295EC3-1888-1427-C103-6AD43D98147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20184994-D4F5-2404-540A-C12A11DA385F}"/>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4E7E7D24-28A0-0900-5260-42CC6F946E8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6AF36534-F431-939E-5419-BB74AEAF77D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AF5E7AD-937B-1FEF-3E08-8F26578A57C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050BCC9B-3541-93BD-2AC0-B7DBD4BFD0B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50E3BD61-7C40-8403-6B47-1807FF7B190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9FECD166-BCCD-B903-5DB6-C276FB7E127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ACCE7FD8-0F87-C700-68C0-0E6EABC190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CF812471-9619-6B5D-FA85-0AE233568C1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45E5DCF7-43D6-9B22-789F-DBC14712B6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B907E394-B05A-9B11-B266-05EB63349C1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A7A7377E-5B10-DA8E-2780-6B10DCF2C5AD}"/>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E182CA1F-4C87-EE8F-EA08-8DBC5703D5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E41BD5BA-5476-F9F8-4EE1-FB48299747A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DE82FF86-B7ED-34D0-5235-018A50F1190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2A75BC18-157B-DE31-8E3F-034F55F241B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FB2005A3-435F-DFF0-2D77-8E3C41634E2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068A6580-41B0-066B-1773-52724B06463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94E69FE7-871E-CF80-7A1C-B4C1DF4ADFD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29B58B01-D34B-9947-0121-956CC914784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4BB46E9A-0391-1030-F032-E7C8D1DDE81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FF708558-F682-4BF6-EF9B-B34DF406B64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14A170C9-A395-9EA5-AEC5-52FFE844DA78}"/>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5DE5479D-9CD6-0AD0-872C-E89A93EB7731}"/>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AC1CE980-04CC-1DEF-D4B4-593D68A875D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594CE742-A0B4-4ACD-5ED3-A0A3FB91C78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4824C257-445B-90FE-ECEB-790A9EEC1A3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20E01FFE-1761-FBCE-1136-9CD362EC51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64F5E448-8A12-DAA9-2295-98149D26F17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9AEDD7F3-702C-4113-C75A-FA5CEA006FB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F378C256-55BD-85B3-03EE-C11008973E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50402FF2-BB3C-9C83-8A44-52796F9DC0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8AFD4BBD-D34C-760C-1C1F-071ED464ACC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135DFCFD-2B83-0DEC-FD1E-E1DAEA52247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EC679775-F699-F369-3670-8D304714A6C3}"/>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CC6B35C4-3212-22B2-3C67-D54C5D1CBE4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BACA5EA5-9E06-F071-F411-61D4B11EB20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87B6BAC9-C497-BE8C-89C5-596201F9BE2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9D400F4E-1E25-00AF-4EFC-DC2B0E38309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992A59A8-1A9D-EFD2-06C0-11544762DB5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CF94C35B-3663-0176-0DB3-8E30FF9CC87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B3F6FEF0-6B75-68E8-CF10-0476F57123F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337DA6C2-4BCD-4B64-2C71-6AC26E128F0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0C58523B-EAA3-36B8-4FE8-F555E1CFD74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3F532228-6598-190B-55A3-8E450FD56F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B240172D-45E0-1E7F-7506-B0539E1E4C8B}"/>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ABF121FF-B771-3532-FD80-533CCF80778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3E52663D-FFEC-E9FA-C634-02C56D680E0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DEF5CAAC-6492-DC39-9A22-7F5058D9092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0D832C4E-0908-C3A9-FDA1-C887C19B87C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EDC547D5-79C5-2D30-36C6-57138DD19E4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BC132E97-5097-3665-642E-2FFBF76A529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E1A1BAD0-3764-C6B8-4E2A-8E41B5EB60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4A581FD6-E7C2-1EE7-AD26-60D29F2FF9A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2FB40737-964D-5AE0-38AB-73049E1A85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C9CEA710-D58C-7307-32D1-FDEE7361519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ADE74519-04C9-2128-0448-E872F7B7E578}"/>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4020874D-1664-F14F-493E-39D5443834B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A8DEE309-F00A-1A2E-CF06-79907554CA0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E235EF2F-D377-62D5-F4E2-CC2E6DCB188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52A0E734-F587-D513-7361-9B1D115A976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23D9EB7F-8D27-527A-6501-CCE18380428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88D92437-C571-177F-E29A-0D73F1A8C5D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9D209C14-158B-7B0E-CE06-CF5E8344ADF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CD69CA08-04A3-92B9-DB17-4BAE8862D0C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0434600C-9210-721C-4812-B73DF06F03E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1DCEA49D-BEE2-A452-4810-D2F576B79E4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B0FF68F7-4A95-8C27-211D-E6193C063E4B}"/>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EDEA1D6F-235E-32CA-64E8-FB286D9F6C79}"/>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79F69449-9E83-234B-80E1-F14E0879022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A9B3AFE3-2315-5221-9FAD-31B548D363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D8D29A6D-E337-9684-2A83-A3E6C4CFD61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E115224F-1F74-D447-56B4-0D8BBE9457F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80FDA437-04AD-004F-E2E7-26153387F45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7FEC1B34-4957-0721-5B9F-E7A0331015F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45E544F6-5A31-22AC-9A7C-5E8B0C2A446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6454FBA9-04FB-3189-8A81-9685FE47465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53DF2BC4-7A2F-D404-8ED8-1BD1B18282C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86268BD2-9E1A-2EA8-F58A-E10ECB91529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3998CED9-966B-CAAE-1488-C25643494253}"/>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A077627A-BDA6-4FE6-4C06-F6EED85C54E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B0B5C991-3786-8C54-6E05-935FED1B2A7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B7734336-837F-9ED9-44DB-82B32F03B85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472951CD-02D6-0A2E-9F74-B5A277FAA6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8F470273-A4F4-511E-A100-8DA4DA49EA3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9596F546-C181-08B4-34D1-77CF3AF1800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41A210C6-D208-5530-3B00-E0C49EC7B0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6D4E33D2-A30B-358B-7E82-680FF1F3F7E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39D0EAA2-F14F-0A5B-E4FE-F4610AA04B2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0475043F-9535-7D36-B992-7F92466B67D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193D75C6-24C1-A212-5286-4E46A66C51B0}"/>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779C0E2A-536E-5B89-0549-995B5700488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7E3C193E-C166-DF83-0E40-10D6CC506AB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B748C05C-4D7A-CC51-060A-8A1DD76B46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C15CA5AA-7B27-2D06-AD47-14BA5FEE3D4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779988BC-CF4B-AD54-C359-B17C1CA926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E2F38EC0-F6B2-318F-B668-2254267B08C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F9C1233E-D664-269F-67CC-F42C6BB6730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768F12FE-D790-9EAC-F87F-595BDD5AC8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F81B8F3E-9A77-539A-67F7-CF0F42A86C8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A8D11553-CED9-57AF-D1F3-9B7D19FA3E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84144257-DDA6-44A7-8D91-9FEF9DDDAB72}"/>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2E5F081E-3D0B-1197-968E-C10EF1331F7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0A609592-CEDB-03FC-312D-41C90B6BBD5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0A084340-831B-2854-EA01-147DC011081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8337C194-C997-D651-1EA8-0285997B6F2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24563B45-64E1-9113-9DC1-F64C5C9C71E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CB0DF232-7BA0-AC48-2F81-4F1F707CA79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B8E7C20A-D68B-BC2D-2A3B-3FFCEA6D9B1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0F57F8F3-BDC9-E222-0D9A-3EDD2AC458F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7E28C0E5-D8A8-2402-058A-B76148B952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9F48D588-B481-80EC-D61E-4F320410AB2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87444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63D6D-47A8-2A85-9FB2-9A84526EA77A}"/>
            </a:ext>
          </a:extLst>
        </p:cNvPr>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id="{DCAA18B4-AFA5-AF0D-51FC-7A67534AF6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4" name="Object 103" hidden="1">
                        <a:extLst>
                          <a:ext uri="{FF2B5EF4-FFF2-40B4-BE49-F238E27FC236}">
                            <a16:creationId xmlns:a16="http://schemas.microsoft.com/office/drawing/2014/main" id="{0F5436C6-62E2-2B4A-8F8D-5BA918D97A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6" name="Picture 195">
            <a:extLst>
              <a:ext uri="{FF2B5EF4-FFF2-40B4-BE49-F238E27FC236}">
                <a16:creationId xmlns:a16="http://schemas.microsoft.com/office/drawing/2014/main" id="{BC5EDC3C-5AA4-8D59-7D3D-D87AC7FB5B5C}"/>
              </a:ext>
            </a:extLst>
          </p:cNvPr>
          <p:cNvPicPr>
            <a:picLocks noChangeAspect="1"/>
          </p:cNvPicPr>
          <p:nvPr/>
        </p:nvPicPr>
        <p:blipFill>
          <a:blip r:embed="rId6">
            <a:duotone>
              <a:prstClr val="black"/>
              <a:srgbClr val="168DA5">
                <a:tint val="45000"/>
                <a:satMod val="400000"/>
              </a:srgb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AD546940-009F-35B6-3C40-A544A022B4AC}"/>
              </a:ext>
            </a:extLst>
          </p:cNvPr>
          <p:cNvSpPr/>
          <p:nvPr/>
        </p:nvSpPr>
        <p:spPr>
          <a:xfrm>
            <a:off x="0" y="0"/>
            <a:ext cx="12160058"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124">
            <a:extLst>
              <a:ext uri="{FF2B5EF4-FFF2-40B4-BE49-F238E27FC236}">
                <a16:creationId xmlns:a16="http://schemas.microsoft.com/office/drawing/2014/main" id="{FFF2C216-FAE3-2FEF-B4C6-1FF244FD20E1}"/>
              </a:ext>
            </a:extLst>
          </p:cNvPr>
          <p:cNvSpPr/>
          <p:nvPr/>
        </p:nvSpPr>
        <p:spPr>
          <a:xfrm flipH="1">
            <a:off x="10116595" y="4798160"/>
            <a:ext cx="2075404" cy="2059840"/>
          </a:xfrm>
          <a:custGeom>
            <a:avLst/>
            <a:gdLst>
              <a:gd name="connsiteX0" fmla="*/ 829295 w 2075404"/>
              <a:gd name="connsiteY0" fmla="*/ 0 h 2059840"/>
              <a:gd name="connsiteX1" fmla="*/ 36654 w 2075404"/>
              <a:gd name="connsiteY1" fmla="*/ 284551 h 2059840"/>
              <a:gd name="connsiteX2" fmla="*/ 0 w 2075404"/>
              <a:gd name="connsiteY2" fmla="*/ 317864 h 2059840"/>
              <a:gd name="connsiteX3" fmla="*/ 0 w 2075404"/>
              <a:gd name="connsiteY3" fmla="*/ 2059840 h 2059840"/>
              <a:gd name="connsiteX4" fmla="*/ 1771685 w 2075404"/>
              <a:gd name="connsiteY4" fmla="*/ 2059840 h 2059840"/>
              <a:gd name="connsiteX5" fmla="*/ 1790853 w 2075404"/>
              <a:gd name="connsiteY5" fmla="*/ 2038750 h 2059840"/>
              <a:gd name="connsiteX6" fmla="*/ 2075404 w 2075404"/>
              <a:gd name="connsiteY6" fmla="*/ 1246109 h 2059840"/>
              <a:gd name="connsiteX7" fmla="*/ 829295 w 2075404"/>
              <a:gd name="connsiteY7" fmla="*/ 0 h 20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5404" h="2059840">
                <a:moveTo>
                  <a:pt x="829295" y="0"/>
                </a:moveTo>
                <a:cubicBezTo>
                  <a:pt x="528204" y="0"/>
                  <a:pt x="252055" y="106786"/>
                  <a:pt x="36654" y="284551"/>
                </a:cubicBezTo>
                <a:lnTo>
                  <a:pt x="0" y="317864"/>
                </a:lnTo>
                <a:lnTo>
                  <a:pt x="0" y="2059840"/>
                </a:lnTo>
                <a:lnTo>
                  <a:pt x="1771685" y="2059840"/>
                </a:lnTo>
                <a:lnTo>
                  <a:pt x="1790853" y="2038750"/>
                </a:lnTo>
                <a:cubicBezTo>
                  <a:pt x="1968618" y="1823349"/>
                  <a:pt x="2075404" y="1547200"/>
                  <a:pt x="2075404" y="1246109"/>
                </a:cubicBezTo>
                <a:cubicBezTo>
                  <a:pt x="2075404" y="557902"/>
                  <a:pt x="1517502" y="0"/>
                  <a:pt x="829295" y="0"/>
                </a:cubicBezTo>
                <a:close/>
              </a:path>
            </a:pathLst>
          </a:custGeom>
          <a:solidFill>
            <a:srgbClr val="168DA5">
              <a:alpha val="70000"/>
            </a:srgbClr>
          </a:solidFill>
          <a:ln>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9" name="Oval 198">
            <a:extLst>
              <a:ext uri="{FF2B5EF4-FFF2-40B4-BE49-F238E27FC236}">
                <a16:creationId xmlns:a16="http://schemas.microsoft.com/office/drawing/2014/main" id="{FA07DF1F-5A7C-1740-D720-4B4252511F18}"/>
              </a:ext>
            </a:extLst>
          </p:cNvPr>
          <p:cNvSpPr/>
          <p:nvPr/>
        </p:nvSpPr>
        <p:spPr>
          <a:xfrm flipH="1">
            <a:off x="10879772" y="5561337"/>
            <a:ext cx="965864" cy="965864"/>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0" name="Oval 199">
            <a:extLst>
              <a:ext uri="{FF2B5EF4-FFF2-40B4-BE49-F238E27FC236}">
                <a16:creationId xmlns:a16="http://schemas.microsoft.com/office/drawing/2014/main" id="{B5889C62-8D50-8430-889A-3C69A4044E5E}"/>
              </a:ext>
            </a:extLst>
          </p:cNvPr>
          <p:cNvSpPr/>
          <p:nvPr/>
        </p:nvSpPr>
        <p:spPr>
          <a:xfrm flipV="1">
            <a:off x="10259352" y="4957602"/>
            <a:ext cx="422118" cy="422118"/>
          </a:xfrm>
          <a:prstGeom prst="ellipse">
            <a:avLst/>
          </a:prstGeom>
          <a:blipFill>
            <a:blip r:embed="rId7"/>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125">
            <a:extLst>
              <a:ext uri="{FF2B5EF4-FFF2-40B4-BE49-F238E27FC236}">
                <a16:creationId xmlns:a16="http://schemas.microsoft.com/office/drawing/2014/main" id="{BAB19E8B-DB79-544F-5B6F-8FF9927BE35B}"/>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2">
            <a:extLst>
              <a:ext uri="{FF2B5EF4-FFF2-40B4-BE49-F238E27FC236}">
                <a16:creationId xmlns:a16="http://schemas.microsoft.com/office/drawing/2014/main" id="{B668A68F-CC15-F9B7-EA2C-3CB08D91BB67}"/>
              </a:ext>
            </a:extLst>
          </p:cNvPr>
          <p:cNvGrpSpPr/>
          <p:nvPr/>
        </p:nvGrpSpPr>
        <p:grpSpPr>
          <a:xfrm rot="10800000" flipV="1">
            <a:off x="10328607" y="-99418"/>
            <a:ext cx="1729654" cy="848268"/>
            <a:chOff x="233739" y="283295"/>
            <a:chExt cx="1729654" cy="848268"/>
          </a:xfrm>
          <a:gradFill>
            <a:gsLst>
              <a:gs pos="0">
                <a:schemeClr val="accent5"/>
              </a:gs>
              <a:gs pos="100000">
                <a:schemeClr val="tx1">
                  <a:alpha val="0"/>
                </a:schemeClr>
              </a:gs>
            </a:gsLst>
            <a:lin ang="0" scaled="1"/>
          </a:gradFill>
        </p:grpSpPr>
        <p:grpSp>
          <p:nvGrpSpPr>
            <p:cNvPr id="4" name="Group 3">
              <a:extLst>
                <a:ext uri="{FF2B5EF4-FFF2-40B4-BE49-F238E27FC236}">
                  <a16:creationId xmlns:a16="http://schemas.microsoft.com/office/drawing/2014/main" id="{BC57C9A7-487C-8F4F-6DF4-8D869EC5AD86}"/>
                </a:ext>
              </a:extLst>
            </p:cNvPr>
            <p:cNvGrpSpPr/>
            <p:nvPr/>
          </p:nvGrpSpPr>
          <p:grpSpPr>
            <a:xfrm rot="5400000">
              <a:off x="1055270" y="-538236"/>
              <a:ext cx="86591" cy="1729654"/>
              <a:chOff x="85292" y="59892"/>
              <a:chExt cx="86591" cy="1729654"/>
            </a:xfrm>
            <a:grpFill/>
          </p:grpSpPr>
          <p:sp>
            <p:nvSpPr>
              <p:cNvPr id="264" name="Oval 263">
                <a:extLst>
                  <a:ext uri="{FF2B5EF4-FFF2-40B4-BE49-F238E27FC236}">
                    <a16:creationId xmlns:a16="http://schemas.microsoft.com/office/drawing/2014/main" id="{27DC6524-8464-4837-67A1-3F0773C5EE4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F4F0A79D-E75E-2824-DB28-671C04E7965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952E3B4F-59EA-9D60-BCBB-F53D77169FC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3608305A-8CA8-C103-3127-26EBD2BD1B9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3EC02C2C-FA55-2E6E-AB68-28CF7F8E7C2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462A8EBC-BDD2-7C6F-8075-6493E5DE3AD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DF711368-E345-19C2-397C-7A7F24C599C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3F46CBD5-53D7-4E96-C362-752DF82C34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CEC429BF-B884-20B9-D8A7-0E02D22BA22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255E1AB3-BE4B-48FC-438F-983662AF1F6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F28AA60D-AE55-9F74-6422-D8D1BB1187AE}"/>
                </a:ext>
              </a:extLst>
            </p:cNvPr>
            <p:cNvGrpSpPr/>
            <p:nvPr/>
          </p:nvGrpSpPr>
          <p:grpSpPr>
            <a:xfrm rot="5400000">
              <a:off x="1055270" y="-284344"/>
              <a:ext cx="86591" cy="1729654"/>
              <a:chOff x="85292" y="59892"/>
              <a:chExt cx="86591" cy="1729654"/>
            </a:xfrm>
            <a:grpFill/>
          </p:grpSpPr>
          <p:sp>
            <p:nvSpPr>
              <p:cNvPr id="28" name="Oval 27">
                <a:extLst>
                  <a:ext uri="{FF2B5EF4-FFF2-40B4-BE49-F238E27FC236}">
                    <a16:creationId xmlns:a16="http://schemas.microsoft.com/office/drawing/2014/main" id="{C3E44B14-0D66-61AD-A859-FCCFE25156A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E858CE16-694F-C6F8-6E4C-183F6259C7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D8177A0C-CFBE-F231-00A0-5FCD2D7A31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920D66F1-F5B4-23C0-FE5A-0DEF2DBFFD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0F08CBF7-2E17-4B4C-50A8-22A99862413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EF04F6F7-6BA4-0B45-6A8A-7AEB18371CA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451D9D97-EC3E-A1E8-06B3-8E930F4EE26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3740CE4E-502F-DD59-3F75-D5A6236DBF9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FA32D8E4-56E8-02F3-7DC1-D856C4C1886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5BDCBA51-5B95-82B6-9083-08606A20E3C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3C7D4EDA-6354-08BB-F9F7-17B24ED48A9E}"/>
                </a:ext>
              </a:extLst>
            </p:cNvPr>
            <p:cNvGrpSpPr/>
            <p:nvPr/>
          </p:nvGrpSpPr>
          <p:grpSpPr>
            <a:xfrm rot="5400000">
              <a:off x="1055270" y="-30452"/>
              <a:ext cx="86591" cy="1729654"/>
              <a:chOff x="85292" y="59892"/>
              <a:chExt cx="86591" cy="1729654"/>
            </a:xfrm>
            <a:grpFill/>
          </p:grpSpPr>
          <p:sp>
            <p:nvSpPr>
              <p:cNvPr id="18" name="Oval 17">
                <a:extLst>
                  <a:ext uri="{FF2B5EF4-FFF2-40B4-BE49-F238E27FC236}">
                    <a16:creationId xmlns:a16="http://schemas.microsoft.com/office/drawing/2014/main" id="{39776788-09D4-92C1-18B3-CD71CED9E1B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CD8CA349-D60F-0774-6101-3C78CC81531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1FA99AF4-FA3D-42A9-A725-E16DFCB976F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F76550E2-CB15-300F-BFEA-D8314708D9D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1418B017-419C-1D8A-5745-7566BA77342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E838321-CE58-9172-097F-E5DE93D2E93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32C11B4D-AF7E-43C8-E421-E884895801F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8CE9B6C-6AB4-3336-1A7A-2E0BC029898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0EE726C-7A3C-8B7C-2CC8-A685D33E879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8F9F31AB-1AEA-C6B2-F73E-0CA558AFAD6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29AA218-7E76-D7CE-422E-7C2EF4016783}"/>
                </a:ext>
              </a:extLst>
            </p:cNvPr>
            <p:cNvGrpSpPr/>
            <p:nvPr/>
          </p:nvGrpSpPr>
          <p:grpSpPr>
            <a:xfrm rot="5400000">
              <a:off x="1055270" y="223441"/>
              <a:ext cx="86591" cy="1729654"/>
              <a:chOff x="85292" y="59892"/>
              <a:chExt cx="86591" cy="1729654"/>
            </a:xfrm>
            <a:grpFill/>
          </p:grpSpPr>
          <p:sp>
            <p:nvSpPr>
              <p:cNvPr id="8" name="Oval 7">
                <a:extLst>
                  <a:ext uri="{FF2B5EF4-FFF2-40B4-BE49-F238E27FC236}">
                    <a16:creationId xmlns:a16="http://schemas.microsoft.com/office/drawing/2014/main" id="{D7BED5F9-1DE2-F03F-EB56-679EDE80821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83C2C0D2-4AA7-9043-58F9-94E8EA0538B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0450E9C8-11BD-7C2D-4056-4FA58592DD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3800560-DA27-95E3-7C4A-888F108CD0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DC7A3A6-CC0C-0073-6A56-3F3EB8377D6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946383EB-BE66-C8FC-584F-41DC6A2E93B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A5F6F127-EC4B-5E79-5279-9215DBF7411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E09B1B7-C20B-3D7C-0982-60B119D1033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39F4B53-3270-BBC1-9A66-88F4EA6425C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4581C20F-1796-A35D-A87D-80F88F4CDD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32" name="Oval 231">
            <a:hlinkClick r:id="rId8" action="ppaction://hlinksldjump"/>
            <a:extLst>
              <a:ext uri="{FF2B5EF4-FFF2-40B4-BE49-F238E27FC236}">
                <a16:creationId xmlns:a16="http://schemas.microsoft.com/office/drawing/2014/main" id="{3AA8DC24-689B-763B-DD95-0E5224E430E4}"/>
              </a:ext>
            </a:extLst>
          </p:cNvPr>
          <p:cNvSpPr/>
          <p:nvPr/>
        </p:nvSpPr>
        <p:spPr>
          <a:xfrm flipH="1">
            <a:off x="1728038" y="5584026"/>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D469D92C-7EA0-2DA6-6940-942EC09C9458}"/>
              </a:ext>
            </a:extLst>
          </p:cNvPr>
          <p:cNvGrpSpPr/>
          <p:nvPr/>
        </p:nvGrpSpPr>
        <p:grpSpPr>
          <a:xfrm flipH="1">
            <a:off x="-7335" y="5836849"/>
            <a:ext cx="2054439" cy="578277"/>
            <a:chOff x="1171787" y="5711403"/>
            <a:chExt cx="2054439" cy="578277"/>
          </a:xfrm>
        </p:grpSpPr>
        <p:cxnSp>
          <p:nvCxnSpPr>
            <p:cNvPr id="227" name="Straight Connector 226">
              <a:extLst>
                <a:ext uri="{FF2B5EF4-FFF2-40B4-BE49-F238E27FC236}">
                  <a16:creationId xmlns:a16="http://schemas.microsoft.com/office/drawing/2014/main" id="{D30D7BBA-35CE-7190-2DEC-31A58E46430E}"/>
                </a:ext>
              </a:extLst>
            </p:cNvPr>
            <p:cNvCxnSpPr>
              <a:cxnSpLocks/>
            </p:cNvCxnSpPr>
            <p:nvPr/>
          </p:nvCxnSpPr>
          <p:spPr>
            <a:xfrm>
              <a:off x="1460926" y="6000541"/>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0F802E94-7575-D95C-0A69-2E17BCE9574F}"/>
                </a:ext>
              </a:extLst>
            </p:cNvPr>
            <p:cNvSpPr/>
            <p:nvPr/>
          </p:nvSpPr>
          <p:spPr>
            <a:xfrm flipH="1">
              <a:off x="1171787" y="5711403"/>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7" name="Straight Connector 236">
            <a:extLst>
              <a:ext uri="{FF2B5EF4-FFF2-40B4-BE49-F238E27FC236}">
                <a16:creationId xmlns:a16="http://schemas.microsoft.com/office/drawing/2014/main" id="{88C351D5-2CC1-CA36-8B28-639906F8221B}"/>
              </a:ext>
            </a:extLst>
          </p:cNvPr>
          <p:cNvCxnSpPr>
            <a:cxnSpLocks/>
          </p:cNvCxnSpPr>
          <p:nvPr/>
        </p:nvCxnSpPr>
        <p:spPr>
          <a:xfrm>
            <a:off x="626923" y="-66821"/>
            <a:ext cx="0" cy="704088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AFEBE901-C1D6-1922-B8C0-85633E7DA301}"/>
              </a:ext>
            </a:extLst>
          </p:cNvPr>
          <p:cNvGrpSpPr/>
          <p:nvPr/>
        </p:nvGrpSpPr>
        <p:grpSpPr>
          <a:xfrm rot="16200000" flipV="1">
            <a:off x="-1104799" y="5476836"/>
            <a:ext cx="1729654" cy="848268"/>
            <a:chOff x="233739" y="283295"/>
            <a:chExt cx="1729654" cy="848268"/>
          </a:xfrm>
          <a:gradFill>
            <a:gsLst>
              <a:gs pos="0">
                <a:schemeClr val="accent5"/>
              </a:gs>
              <a:gs pos="100000">
                <a:schemeClr val="tx1">
                  <a:alpha val="0"/>
                </a:schemeClr>
              </a:gs>
            </a:gsLst>
            <a:lin ang="0" scaled="1"/>
          </a:gradFill>
        </p:grpSpPr>
        <p:grpSp>
          <p:nvGrpSpPr>
            <p:cNvPr id="112" name="Group 111">
              <a:extLst>
                <a:ext uri="{FF2B5EF4-FFF2-40B4-BE49-F238E27FC236}">
                  <a16:creationId xmlns:a16="http://schemas.microsoft.com/office/drawing/2014/main" id="{8E5D4FEB-D166-FC8D-0A75-31699E1116BC}"/>
                </a:ext>
              </a:extLst>
            </p:cNvPr>
            <p:cNvGrpSpPr/>
            <p:nvPr/>
          </p:nvGrpSpPr>
          <p:grpSpPr>
            <a:xfrm rot="5400000">
              <a:off x="1055270" y="-538236"/>
              <a:ext cx="86591" cy="1729654"/>
              <a:chOff x="85292" y="59892"/>
              <a:chExt cx="86591" cy="1729654"/>
            </a:xfrm>
            <a:grpFill/>
          </p:grpSpPr>
          <p:sp>
            <p:nvSpPr>
              <p:cNvPr id="223" name="Oval 222">
                <a:extLst>
                  <a:ext uri="{FF2B5EF4-FFF2-40B4-BE49-F238E27FC236}">
                    <a16:creationId xmlns:a16="http://schemas.microsoft.com/office/drawing/2014/main" id="{F8C65186-8B86-739C-9C62-213E0E4FC2A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D76ADBD0-AD93-DAC5-505E-F9327E177E0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a:extLst>
                  <a:ext uri="{FF2B5EF4-FFF2-40B4-BE49-F238E27FC236}">
                    <a16:creationId xmlns:a16="http://schemas.microsoft.com/office/drawing/2014/main" id="{3AA65A47-0465-7E1D-320A-A544981AAD7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CBBDE230-B1DE-785E-B930-7A62855C592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FD507282-D811-0BF8-1CE3-DBA647156B9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20233089-64A9-E853-6A9D-6C909CC555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1EAC10E2-3C1A-A6D7-B416-98D16FE4664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082368E5-CD14-09C0-E05B-F39A5937E03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Oval 294">
                <a:extLst>
                  <a:ext uri="{FF2B5EF4-FFF2-40B4-BE49-F238E27FC236}">
                    <a16:creationId xmlns:a16="http://schemas.microsoft.com/office/drawing/2014/main" id="{2CD3F2BA-098B-E65A-6169-E797BDC3F2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DF9F0EB6-9A5B-177E-3D2C-E34FD0E52D4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a:extLst>
                <a:ext uri="{FF2B5EF4-FFF2-40B4-BE49-F238E27FC236}">
                  <a16:creationId xmlns:a16="http://schemas.microsoft.com/office/drawing/2014/main" id="{F6A2E2C7-5FBD-5A21-BC83-1EA3C64C326A}"/>
                </a:ext>
              </a:extLst>
            </p:cNvPr>
            <p:cNvGrpSpPr/>
            <p:nvPr/>
          </p:nvGrpSpPr>
          <p:grpSpPr>
            <a:xfrm rot="5400000">
              <a:off x="1055270" y="-284344"/>
              <a:ext cx="86591" cy="1729654"/>
              <a:chOff x="85292" y="59892"/>
              <a:chExt cx="86591" cy="1729654"/>
            </a:xfrm>
            <a:grpFill/>
          </p:grpSpPr>
          <p:sp>
            <p:nvSpPr>
              <p:cNvPr id="213" name="Oval 212">
                <a:extLst>
                  <a:ext uri="{FF2B5EF4-FFF2-40B4-BE49-F238E27FC236}">
                    <a16:creationId xmlns:a16="http://schemas.microsoft.com/office/drawing/2014/main" id="{72183826-F76D-C53A-42E1-A3AACF48E78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20E26CB5-F7D8-F8FF-B42F-219853D20D7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6068DD54-AEEA-F63D-FC1C-534DDD48432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15A0C67B-7DFC-CAE4-0AF5-F482B73589B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CAEE800A-545E-540F-C5BB-9D9CE8FF695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FB14E0F0-FD1B-AD4F-2ACD-CF3FFE5F72F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45E86B53-7DE3-228E-B2E5-61A73FE06F8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635733D1-2629-A9A4-BD10-ABB3303298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88B4C7C8-C8D1-0DA4-7C49-E40102A4883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8B32F50D-D861-C5AE-CF32-183685F1B4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815647BB-545D-37F6-284F-875C48CA32D9}"/>
                </a:ext>
              </a:extLst>
            </p:cNvPr>
            <p:cNvGrpSpPr/>
            <p:nvPr/>
          </p:nvGrpSpPr>
          <p:grpSpPr>
            <a:xfrm rot="5400000">
              <a:off x="1055270" y="-30452"/>
              <a:ext cx="86591" cy="1729654"/>
              <a:chOff x="85292" y="59892"/>
              <a:chExt cx="86591" cy="1729654"/>
            </a:xfrm>
            <a:grpFill/>
          </p:grpSpPr>
          <p:sp>
            <p:nvSpPr>
              <p:cNvPr id="126" name="Oval 125">
                <a:extLst>
                  <a:ext uri="{FF2B5EF4-FFF2-40B4-BE49-F238E27FC236}">
                    <a16:creationId xmlns:a16="http://schemas.microsoft.com/office/drawing/2014/main" id="{2607B92F-144A-DE1F-81DF-BDB554E2B29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F011D5FC-00E0-4CE4-132F-E8C2E85A5A3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8DBD10F7-0AA8-E46F-89C1-87DA3C1341E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DD686A84-1588-AA69-76D9-92DCA2F60E2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5F06BC18-76BB-6650-4DB3-B3A54EA2B73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C9446938-1B4D-31F3-D56F-C51C91C5F53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46B62146-1F3D-4076-7AD3-AD32EA8217E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77491F1B-79CA-DC20-914D-03AB0C3C090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4BF8029E-455F-30C3-2BE2-9D86AD3B897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0832D11B-3E07-F999-E045-62D0F1772BF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a:extLst>
                <a:ext uri="{FF2B5EF4-FFF2-40B4-BE49-F238E27FC236}">
                  <a16:creationId xmlns:a16="http://schemas.microsoft.com/office/drawing/2014/main" id="{5E942658-1664-B150-95F9-8B36EF8673CE}"/>
                </a:ext>
              </a:extLst>
            </p:cNvPr>
            <p:cNvGrpSpPr/>
            <p:nvPr/>
          </p:nvGrpSpPr>
          <p:grpSpPr>
            <a:xfrm rot="5400000">
              <a:off x="1055270" y="223441"/>
              <a:ext cx="86591" cy="1729654"/>
              <a:chOff x="85292" y="59892"/>
              <a:chExt cx="86591" cy="1729654"/>
            </a:xfrm>
            <a:grpFill/>
          </p:grpSpPr>
          <p:sp>
            <p:nvSpPr>
              <p:cNvPr id="116" name="Oval 115">
                <a:extLst>
                  <a:ext uri="{FF2B5EF4-FFF2-40B4-BE49-F238E27FC236}">
                    <a16:creationId xmlns:a16="http://schemas.microsoft.com/office/drawing/2014/main" id="{A1903423-BA70-43F3-ADAD-76DE1F15BDE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C804717C-AB72-EEEE-77E0-1B9162B3A2D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5C2E8E83-B39C-1077-416E-58E3CA9216D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EB30122D-2EAA-0B2F-7F43-14BF1F1A38D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857546AA-53CE-407B-B155-AB602C0127F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74756279-EF29-7FAA-914F-3B3C76254B7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7672FC63-334E-11A9-3958-C3CA24141A9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14DF47BD-681B-DF57-AB12-434DE99A761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2D2AD9FF-F410-56F9-E492-47E88CD445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331B1ACC-FA5B-63BA-F17E-DBC6AD9FF8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7" name="Group 296">
            <a:extLst>
              <a:ext uri="{FF2B5EF4-FFF2-40B4-BE49-F238E27FC236}">
                <a16:creationId xmlns:a16="http://schemas.microsoft.com/office/drawing/2014/main" id="{BF99F480-899E-2295-DE6E-DF4E66FB6E00}"/>
              </a:ext>
            </a:extLst>
          </p:cNvPr>
          <p:cNvGrpSpPr/>
          <p:nvPr/>
        </p:nvGrpSpPr>
        <p:grpSpPr>
          <a:xfrm rot="16200000" flipV="1">
            <a:off x="-128785" y="5481560"/>
            <a:ext cx="1729654" cy="848268"/>
            <a:chOff x="233739" y="283295"/>
            <a:chExt cx="1729654" cy="848268"/>
          </a:xfrm>
          <a:gradFill>
            <a:gsLst>
              <a:gs pos="0">
                <a:schemeClr val="accent5"/>
              </a:gs>
              <a:gs pos="100000">
                <a:schemeClr val="tx1">
                  <a:alpha val="0"/>
                </a:schemeClr>
              </a:gs>
            </a:gsLst>
            <a:lin ang="0" scaled="1"/>
          </a:gradFill>
        </p:grpSpPr>
        <p:grpSp>
          <p:nvGrpSpPr>
            <p:cNvPr id="298" name="Group 297">
              <a:extLst>
                <a:ext uri="{FF2B5EF4-FFF2-40B4-BE49-F238E27FC236}">
                  <a16:creationId xmlns:a16="http://schemas.microsoft.com/office/drawing/2014/main" id="{1FE7CC01-3933-8C50-B2CC-81A0182DBCDC}"/>
                </a:ext>
              </a:extLst>
            </p:cNvPr>
            <p:cNvGrpSpPr/>
            <p:nvPr/>
          </p:nvGrpSpPr>
          <p:grpSpPr>
            <a:xfrm rot="5400000">
              <a:off x="1055270" y="-538236"/>
              <a:ext cx="86591" cy="1729654"/>
              <a:chOff x="85292" y="59892"/>
              <a:chExt cx="86591" cy="1729654"/>
            </a:xfrm>
            <a:grpFill/>
          </p:grpSpPr>
          <p:sp>
            <p:nvSpPr>
              <p:cNvPr id="332" name="Oval 331">
                <a:extLst>
                  <a:ext uri="{FF2B5EF4-FFF2-40B4-BE49-F238E27FC236}">
                    <a16:creationId xmlns:a16="http://schemas.microsoft.com/office/drawing/2014/main" id="{67E1B1DD-7AE3-4E09-A6F7-BBB3ED98B58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Oval 332">
                <a:extLst>
                  <a:ext uri="{FF2B5EF4-FFF2-40B4-BE49-F238E27FC236}">
                    <a16:creationId xmlns:a16="http://schemas.microsoft.com/office/drawing/2014/main" id="{4836E5E1-A7F6-2473-31E8-1A9B97B5D31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Oval 333">
                <a:extLst>
                  <a:ext uri="{FF2B5EF4-FFF2-40B4-BE49-F238E27FC236}">
                    <a16:creationId xmlns:a16="http://schemas.microsoft.com/office/drawing/2014/main" id="{359B0B89-5F5C-B6E0-4AAE-E991F4B44B0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Oval 334">
                <a:extLst>
                  <a:ext uri="{FF2B5EF4-FFF2-40B4-BE49-F238E27FC236}">
                    <a16:creationId xmlns:a16="http://schemas.microsoft.com/office/drawing/2014/main" id="{30B4EEEE-FDD9-C4D9-D58C-605F1D6BAEB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Oval 335">
                <a:extLst>
                  <a:ext uri="{FF2B5EF4-FFF2-40B4-BE49-F238E27FC236}">
                    <a16:creationId xmlns:a16="http://schemas.microsoft.com/office/drawing/2014/main" id="{EA592318-BC35-600E-4FE5-7E9BFE4DEFA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Oval 336">
                <a:extLst>
                  <a:ext uri="{FF2B5EF4-FFF2-40B4-BE49-F238E27FC236}">
                    <a16:creationId xmlns:a16="http://schemas.microsoft.com/office/drawing/2014/main" id="{E2DF16AE-842D-9A9C-C051-49C95A03808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Oval 337">
                <a:extLst>
                  <a:ext uri="{FF2B5EF4-FFF2-40B4-BE49-F238E27FC236}">
                    <a16:creationId xmlns:a16="http://schemas.microsoft.com/office/drawing/2014/main" id="{55DB5AA3-5DC0-F519-B3A0-717309BFBEEB}"/>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Oval 338">
                <a:extLst>
                  <a:ext uri="{FF2B5EF4-FFF2-40B4-BE49-F238E27FC236}">
                    <a16:creationId xmlns:a16="http://schemas.microsoft.com/office/drawing/2014/main" id="{A1CC0A4C-61F8-68F5-D49B-C8688862966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Oval 339">
                <a:extLst>
                  <a:ext uri="{FF2B5EF4-FFF2-40B4-BE49-F238E27FC236}">
                    <a16:creationId xmlns:a16="http://schemas.microsoft.com/office/drawing/2014/main" id="{462F048C-8E39-5A4B-FB06-B7D9EA5D0D6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Oval 340">
                <a:extLst>
                  <a:ext uri="{FF2B5EF4-FFF2-40B4-BE49-F238E27FC236}">
                    <a16:creationId xmlns:a16="http://schemas.microsoft.com/office/drawing/2014/main" id="{D2BEDE50-DA11-BEFB-BFA1-6CD317B4D3F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9" name="Group 298">
              <a:extLst>
                <a:ext uri="{FF2B5EF4-FFF2-40B4-BE49-F238E27FC236}">
                  <a16:creationId xmlns:a16="http://schemas.microsoft.com/office/drawing/2014/main" id="{1A1D8339-F1C3-70A6-CE60-09723911E7DB}"/>
                </a:ext>
              </a:extLst>
            </p:cNvPr>
            <p:cNvGrpSpPr/>
            <p:nvPr/>
          </p:nvGrpSpPr>
          <p:grpSpPr>
            <a:xfrm rot="5400000">
              <a:off x="1055270" y="-284344"/>
              <a:ext cx="86591" cy="1729654"/>
              <a:chOff x="85292" y="59892"/>
              <a:chExt cx="86591" cy="1729654"/>
            </a:xfrm>
            <a:grpFill/>
          </p:grpSpPr>
          <p:sp>
            <p:nvSpPr>
              <p:cNvPr id="322" name="Oval 321">
                <a:extLst>
                  <a:ext uri="{FF2B5EF4-FFF2-40B4-BE49-F238E27FC236}">
                    <a16:creationId xmlns:a16="http://schemas.microsoft.com/office/drawing/2014/main" id="{600A4368-7D90-ABA3-8E8C-ECA9267494E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Oval 322">
                <a:extLst>
                  <a:ext uri="{FF2B5EF4-FFF2-40B4-BE49-F238E27FC236}">
                    <a16:creationId xmlns:a16="http://schemas.microsoft.com/office/drawing/2014/main" id="{1C75B1EA-482D-34EA-2D7F-85C757D6C16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Oval 323">
                <a:extLst>
                  <a:ext uri="{FF2B5EF4-FFF2-40B4-BE49-F238E27FC236}">
                    <a16:creationId xmlns:a16="http://schemas.microsoft.com/office/drawing/2014/main" id="{75F73307-7FF6-5B0B-B3D7-709B53253E0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Oval 324">
                <a:extLst>
                  <a:ext uri="{FF2B5EF4-FFF2-40B4-BE49-F238E27FC236}">
                    <a16:creationId xmlns:a16="http://schemas.microsoft.com/office/drawing/2014/main" id="{D525B824-B5CC-C04D-0F38-C0BD430F71B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4F787F45-3446-E92B-8A34-56CCBDCC167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BCC068CB-B3FC-783A-F03F-5F0042EB14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FBCD7B1D-D870-9B43-95E0-C7681DFCEA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FE7DDD73-48F2-EAD7-CC50-53F8195E7E8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D7D19B3F-7FE2-E99A-4915-C390599E324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D98A2208-6689-2DCA-B90E-92A7B0CFAF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0" name="Group 299">
              <a:extLst>
                <a:ext uri="{FF2B5EF4-FFF2-40B4-BE49-F238E27FC236}">
                  <a16:creationId xmlns:a16="http://schemas.microsoft.com/office/drawing/2014/main" id="{202C5485-7C23-1D6B-391A-BBB1C5A0D94D}"/>
                </a:ext>
              </a:extLst>
            </p:cNvPr>
            <p:cNvGrpSpPr/>
            <p:nvPr/>
          </p:nvGrpSpPr>
          <p:grpSpPr>
            <a:xfrm rot="5400000">
              <a:off x="1055270" y="-30452"/>
              <a:ext cx="86591" cy="1729654"/>
              <a:chOff x="85292" y="59892"/>
              <a:chExt cx="86591" cy="1729654"/>
            </a:xfrm>
            <a:grpFill/>
          </p:grpSpPr>
          <p:sp>
            <p:nvSpPr>
              <p:cNvPr id="312" name="Oval 311">
                <a:extLst>
                  <a:ext uri="{FF2B5EF4-FFF2-40B4-BE49-F238E27FC236}">
                    <a16:creationId xmlns:a16="http://schemas.microsoft.com/office/drawing/2014/main" id="{DAE07149-24E7-57EB-65E7-C58275A117D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C94B1350-790B-2E28-1D5F-7AD6BC0C1C7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6C630EE3-71B9-CC69-EACC-814E295017A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DF9753EE-EEA1-085B-122A-A313EAF617F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A1FBBE32-5ABC-1D03-CF42-33F89CC1367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35A233AD-95A1-17E5-F12B-C9EC81442FB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8C6B173C-4F45-DAC4-68BA-DFF79F02B1D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E9A3002C-0732-3F70-034F-132885C4CFB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9566E61D-0D32-CC01-667F-AA5D2B973AF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97105C2F-0CBC-5294-2586-7F5441E7C7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1" name="Group 300">
              <a:extLst>
                <a:ext uri="{FF2B5EF4-FFF2-40B4-BE49-F238E27FC236}">
                  <a16:creationId xmlns:a16="http://schemas.microsoft.com/office/drawing/2014/main" id="{99F548E7-12AA-AB22-CF79-932452AF6BC6}"/>
                </a:ext>
              </a:extLst>
            </p:cNvPr>
            <p:cNvGrpSpPr/>
            <p:nvPr/>
          </p:nvGrpSpPr>
          <p:grpSpPr>
            <a:xfrm rot="5400000">
              <a:off x="1055270" y="223441"/>
              <a:ext cx="86591" cy="1729654"/>
              <a:chOff x="85292" y="59892"/>
              <a:chExt cx="86591" cy="1729654"/>
            </a:xfrm>
            <a:grpFill/>
          </p:grpSpPr>
          <p:sp>
            <p:nvSpPr>
              <p:cNvPr id="302" name="Oval 301">
                <a:extLst>
                  <a:ext uri="{FF2B5EF4-FFF2-40B4-BE49-F238E27FC236}">
                    <a16:creationId xmlns:a16="http://schemas.microsoft.com/office/drawing/2014/main" id="{22D8FA02-C3C0-1ACE-7103-B95D3DCA36B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B7AA2EF4-4123-EC11-DD33-88534D01266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B7098E4A-506A-3CDF-CF34-A0E39D36A42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a:extLst>
                  <a:ext uri="{FF2B5EF4-FFF2-40B4-BE49-F238E27FC236}">
                    <a16:creationId xmlns:a16="http://schemas.microsoft.com/office/drawing/2014/main" id="{301BF811-8E69-1940-8013-699BE91400B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Oval 305">
                <a:extLst>
                  <a:ext uri="{FF2B5EF4-FFF2-40B4-BE49-F238E27FC236}">
                    <a16:creationId xmlns:a16="http://schemas.microsoft.com/office/drawing/2014/main" id="{3D9CDD5B-FCD1-A90E-C766-BB884AEFFDA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Oval 306">
                <a:extLst>
                  <a:ext uri="{FF2B5EF4-FFF2-40B4-BE49-F238E27FC236}">
                    <a16:creationId xmlns:a16="http://schemas.microsoft.com/office/drawing/2014/main" id="{2EEE20C5-1232-0009-73CD-6BCCA3F5A85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Oval 307">
                <a:extLst>
                  <a:ext uri="{FF2B5EF4-FFF2-40B4-BE49-F238E27FC236}">
                    <a16:creationId xmlns:a16="http://schemas.microsoft.com/office/drawing/2014/main" id="{01265CB6-2DFF-0CE4-874F-305C402CD22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Oval 308">
                <a:extLst>
                  <a:ext uri="{FF2B5EF4-FFF2-40B4-BE49-F238E27FC236}">
                    <a16:creationId xmlns:a16="http://schemas.microsoft.com/office/drawing/2014/main" id="{F2CB8CBC-613B-DA3F-A532-F5E7DAA9003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Oval 309">
                <a:extLst>
                  <a:ext uri="{FF2B5EF4-FFF2-40B4-BE49-F238E27FC236}">
                    <a16:creationId xmlns:a16="http://schemas.microsoft.com/office/drawing/2014/main" id="{B1D10789-3245-2259-1AA5-64221E71E31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Oval 310">
                <a:extLst>
                  <a:ext uri="{FF2B5EF4-FFF2-40B4-BE49-F238E27FC236}">
                    <a16:creationId xmlns:a16="http://schemas.microsoft.com/office/drawing/2014/main" id="{2AE390D5-8EA2-E634-E267-4A6E7FB65B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a:extLst>
              <a:ext uri="{FF2B5EF4-FFF2-40B4-BE49-F238E27FC236}">
                <a16:creationId xmlns:a16="http://schemas.microsoft.com/office/drawing/2014/main" id="{DA267FED-C18D-2893-645B-776FFEDCD857}"/>
              </a:ext>
            </a:extLst>
          </p:cNvPr>
          <p:cNvGrpSpPr/>
          <p:nvPr/>
        </p:nvGrpSpPr>
        <p:grpSpPr>
          <a:xfrm rot="16200000" flipV="1">
            <a:off x="11046308" y="2576309"/>
            <a:ext cx="1729654" cy="848268"/>
            <a:chOff x="233739" y="283295"/>
            <a:chExt cx="1729654" cy="848268"/>
          </a:xfrm>
          <a:gradFill>
            <a:gsLst>
              <a:gs pos="0">
                <a:schemeClr val="accent5"/>
              </a:gs>
              <a:gs pos="100000">
                <a:schemeClr val="tx1">
                  <a:alpha val="0"/>
                </a:schemeClr>
              </a:gs>
            </a:gsLst>
            <a:lin ang="0" scaled="1"/>
          </a:gradFill>
        </p:grpSpPr>
        <p:grpSp>
          <p:nvGrpSpPr>
            <p:cNvPr id="343" name="Group 342">
              <a:extLst>
                <a:ext uri="{FF2B5EF4-FFF2-40B4-BE49-F238E27FC236}">
                  <a16:creationId xmlns:a16="http://schemas.microsoft.com/office/drawing/2014/main" id="{44BB9C21-DC78-CA5C-6D8E-FC796A5269D1}"/>
                </a:ext>
              </a:extLst>
            </p:cNvPr>
            <p:cNvGrpSpPr/>
            <p:nvPr/>
          </p:nvGrpSpPr>
          <p:grpSpPr>
            <a:xfrm rot="5400000">
              <a:off x="1055270" y="-538236"/>
              <a:ext cx="86591" cy="1729654"/>
              <a:chOff x="85292" y="59892"/>
              <a:chExt cx="86591" cy="1729654"/>
            </a:xfrm>
            <a:grpFill/>
          </p:grpSpPr>
          <p:sp>
            <p:nvSpPr>
              <p:cNvPr id="377" name="Oval 376">
                <a:extLst>
                  <a:ext uri="{FF2B5EF4-FFF2-40B4-BE49-F238E27FC236}">
                    <a16:creationId xmlns:a16="http://schemas.microsoft.com/office/drawing/2014/main" id="{460B2B25-FB53-6A5F-9F8B-60D1F49EBD8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57A3FF85-861C-ED33-4D9B-72827F3E81A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F138322A-8F7E-E4FF-4CEB-3B0FFB096E4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ECACB64E-F95F-D5B0-31D3-F1D190E1C84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53523B91-77ED-D430-4E7F-110B58AC2E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F02F542A-D59B-9B97-A90B-918605076C3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D412A72F-92E2-BD03-ADBE-A8CFBC2C6CC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3BDFF0CD-62E1-929C-3C5A-FF02E4B7AE3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48C1C02D-DEEF-B4C5-CB6E-A48C18F6A3B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9BDDAF81-5DCA-8F40-A6FB-81BBEFC112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4" name="Group 343">
              <a:extLst>
                <a:ext uri="{FF2B5EF4-FFF2-40B4-BE49-F238E27FC236}">
                  <a16:creationId xmlns:a16="http://schemas.microsoft.com/office/drawing/2014/main" id="{F98C4687-D703-0897-DF38-A236F2EFF296}"/>
                </a:ext>
              </a:extLst>
            </p:cNvPr>
            <p:cNvGrpSpPr/>
            <p:nvPr/>
          </p:nvGrpSpPr>
          <p:grpSpPr>
            <a:xfrm rot="5400000">
              <a:off x="1055270" y="-284344"/>
              <a:ext cx="86591" cy="1729654"/>
              <a:chOff x="85292" y="59892"/>
              <a:chExt cx="86591" cy="1729654"/>
            </a:xfrm>
            <a:grpFill/>
          </p:grpSpPr>
          <p:sp>
            <p:nvSpPr>
              <p:cNvPr id="367" name="Oval 366">
                <a:extLst>
                  <a:ext uri="{FF2B5EF4-FFF2-40B4-BE49-F238E27FC236}">
                    <a16:creationId xmlns:a16="http://schemas.microsoft.com/office/drawing/2014/main" id="{72778723-F520-90A5-E7E8-B5CDE98DFB1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4D0E362C-4C04-35AC-D39C-819BFC88C3C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6C415659-D851-0AE8-0E9E-CD15727390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9695475C-0B63-26A5-D32F-94419E410BC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6717B263-27D2-4899-6D41-622337BAF1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2DBCAD25-09E4-1314-F758-98F3997E76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8048E81A-B049-71EC-498C-BEB59508E5D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2C7C7374-03FC-6682-4864-E7CF474093F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Oval 374">
                <a:extLst>
                  <a:ext uri="{FF2B5EF4-FFF2-40B4-BE49-F238E27FC236}">
                    <a16:creationId xmlns:a16="http://schemas.microsoft.com/office/drawing/2014/main" id="{978B3734-6E0C-BE61-5CB9-5A27E3D3B91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9DE42BE6-B070-8865-B498-82BE5C223C3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a:extLst>
                <a:ext uri="{FF2B5EF4-FFF2-40B4-BE49-F238E27FC236}">
                  <a16:creationId xmlns:a16="http://schemas.microsoft.com/office/drawing/2014/main" id="{0A0D5329-2351-7FE5-7A0E-10AC2B127F33}"/>
                </a:ext>
              </a:extLst>
            </p:cNvPr>
            <p:cNvGrpSpPr/>
            <p:nvPr/>
          </p:nvGrpSpPr>
          <p:grpSpPr>
            <a:xfrm rot="5400000">
              <a:off x="1055270" y="-30452"/>
              <a:ext cx="86591" cy="1729654"/>
              <a:chOff x="85292" y="59892"/>
              <a:chExt cx="86591" cy="1729654"/>
            </a:xfrm>
            <a:grpFill/>
          </p:grpSpPr>
          <p:sp>
            <p:nvSpPr>
              <p:cNvPr id="357" name="Oval 356">
                <a:extLst>
                  <a:ext uri="{FF2B5EF4-FFF2-40B4-BE49-F238E27FC236}">
                    <a16:creationId xmlns:a16="http://schemas.microsoft.com/office/drawing/2014/main" id="{E16000AD-57FA-C61A-2422-6D4E882AAEA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92C42573-B6FB-1BB3-458C-4464A8556F2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A5C3EAA9-6FDB-665E-6A85-7A68FAA3737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388DA13B-4F06-1434-CB61-9B56C8DA830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B0A88D31-AABA-E44C-4289-68D79E7616E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03C85F8E-1CEE-FDE3-E991-B182C7CBB5F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BC6E0B50-2132-5FF0-E530-AE33D9CA27D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490096F8-3BAE-FE91-DF56-2EAD1FC981A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C3C0CFB7-C6F6-0790-60B0-F1AA062ACDD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370702D4-1F35-9012-447E-F362E87094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a:extLst>
                <a:ext uri="{FF2B5EF4-FFF2-40B4-BE49-F238E27FC236}">
                  <a16:creationId xmlns:a16="http://schemas.microsoft.com/office/drawing/2014/main" id="{7C8D761D-5345-08EA-D585-221CE9491F3E}"/>
                </a:ext>
              </a:extLst>
            </p:cNvPr>
            <p:cNvGrpSpPr/>
            <p:nvPr/>
          </p:nvGrpSpPr>
          <p:grpSpPr>
            <a:xfrm rot="5400000">
              <a:off x="1055270" y="223441"/>
              <a:ext cx="86591" cy="1729654"/>
              <a:chOff x="85292" y="59892"/>
              <a:chExt cx="86591" cy="1729654"/>
            </a:xfrm>
            <a:grpFill/>
          </p:grpSpPr>
          <p:sp>
            <p:nvSpPr>
              <p:cNvPr id="347" name="Oval 346">
                <a:extLst>
                  <a:ext uri="{FF2B5EF4-FFF2-40B4-BE49-F238E27FC236}">
                    <a16:creationId xmlns:a16="http://schemas.microsoft.com/office/drawing/2014/main" id="{48D1E09A-BDF2-D0D4-DD29-0C79EF4474F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a:extLst>
                  <a:ext uri="{FF2B5EF4-FFF2-40B4-BE49-F238E27FC236}">
                    <a16:creationId xmlns:a16="http://schemas.microsoft.com/office/drawing/2014/main" id="{5ECEE3A7-8C18-169E-D04F-993E57760D3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Oval 348">
                <a:extLst>
                  <a:ext uri="{FF2B5EF4-FFF2-40B4-BE49-F238E27FC236}">
                    <a16:creationId xmlns:a16="http://schemas.microsoft.com/office/drawing/2014/main" id="{F275A91B-0F89-4D26-80EB-D1E7E061C9F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0" name="Oval 349">
                <a:extLst>
                  <a:ext uri="{FF2B5EF4-FFF2-40B4-BE49-F238E27FC236}">
                    <a16:creationId xmlns:a16="http://schemas.microsoft.com/office/drawing/2014/main" id="{7E6A9DAC-2466-EC47-E0EE-7872FF89757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Oval 350">
                <a:extLst>
                  <a:ext uri="{FF2B5EF4-FFF2-40B4-BE49-F238E27FC236}">
                    <a16:creationId xmlns:a16="http://schemas.microsoft.com/office/drawing/2014/main" id="{BE7794C7-D874-42FB-447D-102A8F86371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A18FA84E-6A0E-3B53-3E46-B891CBAE635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34766ACB-14A3-74D5-0AFF-8A0DC00E39D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B24E76B5-C07F-8E79-BA48-B6F006B9933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62A2102B-3E12-39C3-501E-11728ABA52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E7AD23AC-1260-BF6E-5ABB-B973D4A9E7E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4" name="Rectangle 223">
            <a:extLst>
              <a:ext uri="{FF2B5EF4-FFF2-40B4-BE49-F238E27FC236}">
                <a16:creationId xmlns:a16="http://schemas.microsoft.com/office/drawing/2014/main" id="{3B73CB2D-5DB5-C246-2056-DA0A2F140847}"/>
              </a:ext>
            </a:extLst>
          </p:cNvPr>
          <p:cNvSpPr/>
          <p:nvPr/>
        </p:nvSpPr>
        <p:spPr>
          <a:xfrm>
            <a:off x="769874" y="193417"/>
            <a:ext cx="7459414" cy="769441"/>
          </a:xfrm>
          <a:prstGeom prst="rect">
            <a:avLst/>
          </a:prstGeom>
          <a:noFill/>
        </p:spPr>
        <p:txBody>
          <a:bodyPr wrap="none" lIns="91440" tIns="45720" rIns="91440" bIns="45720">
            <a:spAutoFit/>
          </a:bodyPr>
          <a:lstStyle/>
          <a:p>
            <a:pPr marL="685800" indent="-685800" algn="ctr">
              <a:buFont typeface="Wingdings" panose="05000000000000000000" pitchFamily="2" charset="2"/>
              <a:buChar char="Ø"/>
            </a:pPr>
            <a:r>
              <a:rPr lang="en-US" sz="4400" b="1" u="sng" cap="none" spc="50" dirty="0">
                <a:ln w="9525" cmpd="sng">
                  <a:solidFill>
                    <a:schemeClr val="accent1"/>
                  </a:solidFill>
                  <a:prstDash val="solid"/>
                </a:ln>
                <a:solidFill>
                  <a:srgbClr val="8CDFF0"/>
                </a:solidFill>
                <a:effectLst>
                  <a:glow rad="38100">
                    <a:schemeClr val="accent1">
                      <a:alpha val="40000"/>
                    </a:schemeClr>
                  </a:glow>
                </a:effectLst>
                <a:latin typeface="Arial Rounded MT Bold" panose="020F0704030504030204" pitchFamily="34" charset="0"/>
              </a:rPr>
              <a:t>Hidden Markov Chains :</a:t>
            </a:r>
          </a:p>
        </p:txBody>
      </p:sp>
      <p:sp>
        <p:nvSpPr>
          <p:cNvPr id="225" name="Rectangle 224">
            <a:extLst>
              <a:ext uri="{FF2B5EF4-FFF2-40B4-BE49-F238E27FC236}">
                <a16:creationId xmlns:a16="http://schemas.microsoft.com/office/drawing/2014/main" id="{E5709200-13F4-8415-565C-8B04FC16F4EF}"/>
              </a:ext>
            </a:extLst>
          </p:cNvPr>
          <p:cNvSpPr/>
          <p:nvPr/>
        </p:nvSpPr>
        <p:spPr>
          <a:xfrm>
            <a:off x="1380262" y="1354993"/>
            <a:ext cx="7323785" cy="2862322"/>
          </a:xfrm>
          <a:prstGeom prst="rect">
            <a:avLst/>
          </a:prstGeom>
          <a:noFill/>
        </p:spPr>
        <p:txBody>
          <a:bodyPr wrap="square" lIns="91440" tIns="45720" rIns="91440" bIns="45720">
            <a:spAutoFit/>
          </a:bodyPr>
          <a:lstStyle/>
          <a:p>
            <a:pPr marL="342900" indent="-342900">
              <a:buFont typeface="Arial" panose="020B0604020202020204" pitchFamily="34" charset="0"/>
              <a:buChar char="•"/>
            </a:pPr>
            <a:r>
              <a:rPr lang="en-US" sz="2000" b="1" spc="50" dirty="0">
                <a:ln w="9525" cmpd="sng">
                  <a:solidFill>
                    <a:schemeClr val="accent1"/>
                  </a:solidFill>
                  <a:prstDash val="solid"/>
                </a:ln>
                <a:solidFill>
                  <a:schemeClr val="bg1"/>
                </a:solidFill>
                <a:effectLst>
                  <a:glow rad="38100">
                    <a:schemeClr val="accent1">
                      <a:alpha val="40000"/>
                    </a:schemeClr>
                  </a:glow>
                </a:effectLst>
              </a:rPr>
              <a:t>HMMs are statistical models that capture the relationship between a sequence of observations and a sequence of hidden states. They are widely used in temporal pattern recognition and have applications in various fields such as speech recognition, bioinformatics, and more.</a:t>
            </a:r>
          </a:p>
          <a:p>
            <a:pPr marL="342900" indent="-342900">
              <a:buFont typeface="Arial" panose="020B0604020202020204" pitchFamily="34" charset="0"/>
              <a:buChar char="•"/>
            </a:pPr>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a:p>
            <a:pPr marL="342900" indent="-342900">
              <a:buFont typeface="Arial" panose="020B0604020202020204" pitchFamily="34" charset="0"/>
              <a:buChar char="•"/>
            </a:pPr>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a:p>
            <a:pPr marL="342900" indent="-342900">
              <a:buFont typeface="Arial" panose="020B0604020202020204" pitchFamily="34" charset="0"/>
              <a:buChar char="•"/>
            </a:pPr>
            <a:endParaRPr lang="en-US" sz="2000" b="1"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pic>
        <p:nvPicPr>
          <p:cNvPr id="226" name="Picture 225">
            <a:extLst>
              <a:ext uri="{FF2B5EF4-FFF2-40B4-BE49-F238E27FC236}">
                <a16:creationId xmlns:a16="http://schemas.microsoft.com/office/drawing/2014/main" id="{D93E0DE6-DA72-8242-F930-DE43376EEC1D}"/>
              </a:ext>
            </a:extLst>
          </p:cNvPr>
          <p:cNvPicPr>
            <a:picLocks noChangeAspect="1"/>
          </p:cNvPicPr>
          <p:nvPr/>
        </p:nvPicPr>
        <p:blipFill>
          <a:blip r:embed="rId9">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1518932" y="1853891"/>
            <a:ext cx="9609320" cy="5279150"/>
          </a:xfrm>
          <a:prstGeom prst="rect">
            <a:avLst/>
          </a:prstGeom>
        </p:spPr>
      </p:pic>
    </p:spTree>
    <p:extLst>
      <p:ext uri="{BB962C8B-B14F-4D97-AF65-F5344CB8AC3E}">
        <p14:creationId xmlns:p14="http://schemas.microsoft.com/office/powerpoint/2010/main" val="401694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E833BB-1635-54DF-A74A-D468702675C7}"/>
            </a:ext>
          </a:extLst>
        </p:cNvPr>
        <p:cNvGrpSpPr/>
        <p:nvPr/>
      </p:nvGrpSpPr>
      <p:grpSpPr>
        <a:xfrm>
          <a:off x="0" y="0"/>
          <a:ext cx="0" cy="0"/>
          <a:chOff x="0" y="0"/>
          <a:chExt cx="0" cy="0"/>
        </a:xfrm>
      </p:grpSpPr>
      <p:pic>
        <p:nvPicPr>
          <p:cNvPr id="16" name="Picture Placeholder 5">
            <a:extLst>
              <a:ext uri="{FF2B5EF4-FFF2-40B4-BE49-F238E27FC236}">
                <a16:creationId xmlns:a16="http://schemas.microsoft.com/office/drawing/2014/main" id="{532B3979-F070-D13B-CF4B-A706721A721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a:ext>
            </a:extLst>
          </a:blip>
          <a:srcRect l="-958" t="1" r="-601" b="242"/>
          <a:stretch/>
        </p:blipFill>
        <p:spPr>
          <a:xfrm flipH="1">
            <a:off x="-177422" y="0"/>
            <a:ext cx="12501943" cy="6858000"/>
          </a:xfrm>
          <a:prstGeom prst="rect">
            <a:avLst/>
          </a:prstGeom>
        </p:spPr>
      </p:pic>
      <p:sp>
        <p:nvSpPr>
          <p:cNvPr id="17" name="Rectangle 16">
            <a:extLst>
              <a:ext uri="{FF2B5EF4-FFF2-40B4-BE49-F238E27FC236}">
                <a16:creationId xmlns:a16="http://schemas.microsoft.com/office/drawing/2014/main" id="{D4DA0EF7-6843-DDE8-6773-FE6B8FDAB316}"/>
              </a:ext>
            </a:extLst>
          </p:cNvPr>
          <p:cNvSpPr/>
          <p:nvPr/>
        </p:nvSpPr>
        <p:spPr>
          <a:xfrm>
            <a:off x="-123056" y="0"/>
            <a:ext cx="12330135" cy="687464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7B4ED14-5BF4-70A2-E888-D9D45B45F2DD}"/>
              </a:ext>
            </a:extLst>
          </p:cNvPr>
          <p:cNvSpPr/>
          <p:nvPr/>
        </p:nvSpPr>
        <p:spPr>
          <a:xfrm>
            <a:off x="5451394" y="4644248"/>
            <a:ext cx="6740606" cy="192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D7ECD0B-9179-F409-38D7-846A6565D379}"/>
              </a:ext>
            </a:extLst>
          </p:cNvPr>
          <p:cNvSpPr/>
          <p:nvPr/>
        </p:nvSpPr>
        <p:spPr>
          <a:xfrm>
            <a:off x="4111007" y="4847055"/>
            <a:ext cx="7675879" cy="1526606"/>
          </a:xfrm>
          <a:prstGeom prst="rect">
            <a:avLst/>
          </a:prstGeom>
          <a:blipFill dpi="0" rotWithShape="1">
            <a:blip r:embed="rId5">
              <a:extLst>
                <a:ext uri="{BEBA8EAE-BF5A-486C-A8C5-ECC9F3942E4B}">
                  <a14:imgProps xmlns:a14="http://schemas.microsoft.com/office/drawing/2010/main">
                    <a14:imgLayer r:embed="rId6">
                      <a14:imgEffect>
                        <a14:colorTemperature colorTemp="1679"/>
                      </a14:imgEffect>
                      <a14:imgEffect>
                        <a14:saturation sat="400000"/>
                      </a14:imgEffect>
                      <a14:imgEffect>
                        <a14:brightnessContrast bright="-30000" contrast="-27000"/>
                      </a14:imgEffect>
                    </a14:imgLayer>
                  </a14:imgProps>
                </a:ext>
              </a:extLst>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0B236F1-316D-B639-3B75-2CC71539166D}"/>
              </a:ext>
            </a:extLst>
          </p:cNvPr>
          <p:cNvSpPr/>
          <p:nvPr/>
        </p:nvSpPr>
        <p:spPr>
          <a:xfrm rot="10800000">
            <a:off x="4293566" y="4778875"/>
            <a:ext cx="2574368" cy="2538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A094302-78B1-BE24-3B6F-4DDB97734F4B}"/>
              </a:ext>
            </a:extLst>
          </p:cNvPr>
          <p:cNvSpPr txBox="1"/>
          <p:nvPr/>
        </p:nvSpPr>
        <p:spPr>
          <a:xfrm>
            <a:off x="4197598" y="4870863"/>
            <a:ext cx="8817134" cy="1569660"/>
          </a:xfrm>
          <a:prstGeom prst="rect">
            <a:avLst/>
          </a:prstGeom>
          <a:noFill/>
        </p:spPr>
        <p:txBody>
          <a:bodyPr wrap="square">
            <a:spAutoFit/>
          </a:bodyPr>
          <a:lstStyle/>
          <a:p>
            <a:pPr algn="l"/>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Introduction to Baum-</a:t>
            </a:r>
          </a:p>
          <a:p>
            <a:pPr algn="l"/>
            <a:r>
              <a:rPr lang="en-US" sz="4800" spc="50" dirty="0">
                <a:ln w="9525" cmpd="sng">
                  <a:solidFill>
                    <a:schemeClr val="accent1"/>
                  </a:solidFill>
                  <a:prstDash val="solid"/>
                </a:ln>
                <a:solidFill>
                  <a:srgbClr val="70AD47">
                    <a:tint val="1000"/>
                  </a:srgbClr>
                </a:solidFill>
                <a:effectLst>
                  <a:glow rad="38100">
                    <a:schemeClr val="accent1">
                      <a:alpha val="40000"/>
                    </a:schemeClr>
                  </a:glow>
                </a:effectLst>
                <a:latin typeface="Arial Rounded MT Bold" panose="020F0704030504030204" pitchFamily="34" charset="0"/>
              </a:rPr>
              <a:t>Welch Algorithm</a:t>
            </a:r>
          </a:p>
        </p:txBody>
      </p:sp>
      <p:sp>
        <p:nvSpPr>
          <p:cNvPr id="25" name="Freeform: Shape 24">
            <a:extLst>
              <a:ext uri="{FF2B5EF4-FFF2-40B4-BE49-F238E27FC236}">
                <a16:creationId xmlns:a16="http://schemas.microsoft.com/office/drawing/2014/main" id="{48CBB4F4-F31A-2175-BE14-D72C621BF82B}"/>
              </a:ext>
            </a:extLst>
          </p:cNvPr>
          <p:cNvSpPr/>
          <p:nvPr/>
        </p:nvSpPr>
        <p:spPr>
          <a:xfrm>
            <a:off x="-123056" y="-16641"/>
            <a:ext cx="3641818" cy="3812304"/>
          </a:xfrm>
          <a:custGeom>
            <a:avLst/>
            <a:gdLst>
              <a:gd name="connsiteX0" fmla="*/ 0 w 3095172"/>
              <a:gd name="connsiteY0" fmla="*/ 0 h 3812304"/>
              <a:gd name="connsiteX1" fmla="*/ 3084978 w 3095172"/>
              <a:gd name="connsiteY1" fmla="*/ 0 h 3812304"/>
              <a:gd name="connsiteX2" fmla="*/ 3095172 w 3095172"/>
              <a:gd name="connsiteY2" fmla="*/ 222703 h 3812304"/>
              <a:gd name="connsiteX3" fmla="*/ 2859453 w 3095172"/>
              <a:gd name="connsiteY3" fmla="*/ 1512050 h 3812304"/>
              <a:gd name="connsiteX4" fmla="*/ 2805425 w 3095172"/>
              <a:gd name="connsiteY4" fmla="*/ 1637142 h 3812304"/>
              <a:gd name="connsiteX5" fmla="*/ 2755796 w 3095172"/>
              <a:gd name="connsiteY5" fmla="*/ 1592036 h 3812304"/>
              <a:gd name="connsiteX6" fmla="*/ 1929492 w 3095172"/>
              <a:gd name="connsiteY6" fmla="*/ 1295400 h 3812304"/>
              <a:gd name="connsiteX7" fmla="*/ 630462 w 3095172"/>
              <a:gd name="connsiteY7" fmla="*/ 2594430 h 3812304"/>
              <a:gd name="connsiteX8" fmla="*/ 927098 w 3095172"/>
              <a:gd name="connsiteY8" fmla="*/ 3420734 h 3812304"/>
              <a:gd name="connsiteX9" fmla="*/ 1005858 w 3095172"/>
              <a:gd name="connsiteY9" fmla="*/ 3507392 h 3812304"/>
              <a:gd name="connsiteX10" fmla="*/ 949568 w 3095172"/>
              <a:gd name="connsiteY10" fmla="*/ 3535680 h 3812304"/>
              <a:gd name="connsiteX11" fmla="*/ 18812 w 3095172"/>
              <a:gd name="connsiteY11" fmla="*/ 3809914 h 3812304"/>
              <a:gd name="connsiteX12" fmla="*/ 0 w 3095172"/>
              <a:gd name="connsiteY12" fmla="*/ 3812304 h 381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5172" h="3812304">
                <a:moveTo>
                  <a:pt x="0" y="0"/>
                </a:moveTo>
                <a:lnTo>
                  <a:pt x="3084978" y="0"/>
                </a:lnTo>
                <a:lnTo>
                  <a:pt x="3095172" y="222703"/>
                </a:lnTo>
                <a:cubicBezTo>
                  <a:pt x="3095172" y="676792"/>
                  <a:pt x="3011772" y="1111402"/>
                  <a:pt x="2859453" y="1512050"/>
                </a:cubicBezTo>
                <a:lnTo>
                  <a:pt x="2805425" y="1637142"/>
                </a:lnTo>
                <a:lnTo>
                  <a:pt x="2755796" y="1592036"/>
                </a:lnTo>
                <a:cubicBezTo>
                  <a:pt x="2531247" y="1406721"/>
                  <a:pt x="2243369" y="1295400"/>
                  <a:pt x="1929492" y="1295400"/>
                </a:cubicBezTo>
                <a:cubicBezTo>
                  <a:pt x="1212058" y="1295400"/>
                  <a:pt x="630462" y="1876996"/>
                  <a:pt x="630462" y="2594430"/>
                </a:cubicBezTo>
                <a:cubicBezTo>
                  <a:pt x="630462" y="2908308"/>
                  <a:pt x="741783" y="3196185"/>
                  <a:pt x="927098" y="3420734"/>
                </a:cubicBezTo>
                <a:lnTo>
                  <a:pt x="1005858" y="3507392"/>
                </a:lnTo>
                <a:lnTo>
                  <a:pt x="949568" y="3535680"/>
                </a:lnTo>
                <a:cubicBezTo>
                  <a:pt x="657717" y="3666560"/>
                  <a:pt x="345428" y="3760008"/>
                  <a:pt x="18812" y="3809914"/>
                </a:cubicBezTo>
                <a:lnTo>
                  <a:pt x="0" y="3812304"/>
                </a:lnTo>
                <a:close/>
              </a:path>
            </a:pathLst>
          </a:custGeom>
          <a:pattFill prst="dkDnDi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Oval 26">
            <a:extLst>
              <a:ext uri="{FF2B5EF4-FFF2-40B4-BE49-F238E27FC236}">
                <a16:creationId xmlns:a16="http://schemas.microsoft.com/office/drawing/2014/main" id="{7C8CED37-9E45-D789-AADE-FBFB2E926B9E}"/>
              </a:ext>
            </a:extLst>
          </p:cNvPr>
          <p:cNvSpPr/>
          <p:nvPr/>
        </p:nvSpPr>
        <p:spPr>
          <a:xfrm>
            <a:off x="1032866" y="1527694"/>
            <a:ext cx="2386192" cy="2181224"/>
          </a:xfrm>
          <a:prstGeom prst="ellipse">
            <a:avLst/>
          </a:prstGeom>
          <a:solidFill>
            <a:srgbClr val="D8D9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E2380BCF-5A49-009F-DFE7-432A7A6800CD}"/>
              </a:ext>
            </a:extLst>
          </p:cNvPr>
          <p:cNvSpPr/>
          <p:nvPr/>
        </p:nvSpPr>
        <p:spPr>
          <a:xfrm>
            <a:off x="350047" y="894889"/>
            <a:ext cx="3533210" cy="3268956"/>
          </a:xfrm>
          <a:prstGeom prst="ellipse">
            <a:avLst/>
          </a:prstGeom>
          <a:noFill/>
          <a:ln w="19050">
            <a:solidFill>
              <a:srgbClr val="16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id="{9DA17B5D-3028-0A2A-C813-4FBA0DCB697D}"/>
              </a:ext>
            </a:extLst>
          </p:cNvPr>
          <p:cNvCxnSpPr>
            <a:cxnSpLocks/>
          </p:cNvCxnSpPr>
          <p:nvPr/>
        </p:nvCxnSpPr>
        <p:spPr>
          <a:xfrm>
            <a:off x="2202447" y="-150139"/>
            <a:ext cx="0" cy="1045028"/>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D744800-CCD3-4CD5-C679-98E9749FAAC0}"/>
              </a:ext>
            </a:extLst>
          </p:cNvPr>
          <p:cNvCxnSpPr>
            <a:cxnSpLocks/>
          </p:cNvCxnSpPr>
          <p:nvPr/>
        </p:nvCxnSpPr>
        <p:spPr>
          <a:xfrm flipH="1">
            <a:off x="-138135" y="2594429"/>
            <a:ext cx="462226"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C8E9A82C-977D-27E6-6C4D-C50351B1DE3A}"/>
              </a:ext>
            </a:extLst>
          </p:cNvPr>
          <p:cNvSpPr/>
          <p:nvPr/>
        </p:nvSpPr>
        <p:spPr>
          <a:xfrm>
            <a:off x="1373349" y="1829051"/>
            <a:ext cx="1654902" cy="1569660"/>
          </a:xfrm>
          <a:prstGeom prst="rect">
            <a:avLst/>
          </a:prstGeom>
          <a:noFill/>
        </p:spPr>
        <p:txBody>
          <a:bodyPr wrap="square" lIns="91440" tIns="45720" rIns="91440" bIns="45720">
            <a:spAutoFit/>
            <a:scene3d>
              <a:camera prst="orthographicFront"/>
              <a:lightRig rig="threePt" dir="t"/>
            </a:scene3d>
            <a:sp3d extrusionH="57150">
              <a:bevelT w="38100" h="38100"/>
            </a:sp3d>
          </a:bodyPr>
          <a:lstStyle/>
          <a:p>
            <a:pPr algn="ctr"/>
            <a:r>
              <a:rPr lang="en-US" sz="9600" dirty="0">
                <a:ln w="0"/>
                <a:effectLst>
                  <a:outerShdw blurRad="38100" dist="19050" dir="2700000" algn="tl" rotWithShape="0">
                    <a:schemeClr val="dk1">
                      <a:alpha val="40000"/>
                    </a:schemeClr>
                  </a:outerShdw>
                </a:effectLst>
                <a:latin typeface="Forte" panose="03060902040502070203" pitchFamily="66" charset="0"/>
              </a:rPr>
              <a:t>02</a:t>
            </a:r>
          </a:p>
        </p:txBody>
      </p:sp>
      <p:grpSp>
        <p:nvGrpSpPr>
          <p:cNvPr id="170" name="Group 169">
            <a:extLst>
              <a:ext uri="{FF2B5EF4-FFF2-40B4-BE49-F238E27FC236}">
                <a16:creationId xmlns:a16="http://schemas.microsoft.com/office/drawing/2014/main" id="{2C0CD95F-CEA5-D1C5-FB30-C196B653E645}"/>
              </a:ext>
            </a:extLst>
          </p:cNvPr>
          <p:cNvGrpSpPr/>
          <p:nvPr/>
        </p:nvGrpSpPr>
        <p:grpSpPr>
          <a:xfrm rot="16200000" flipV="1">
            <a:off x="-622122" y="5553782"/>
            <a:ext cx="1729654" cy="848268"/>
            <a:chOff x="233739" y="283295"/>
            <a:chExt cx="1729654" cy="848268"/>
          </a:xfrm>
          <a:gradFill>
            <a:gsLst>
              <a:gs pos="0">
                <a:schemeClr val="accent5"/>
              </a:gs>
              <a:gs pos="100000">
                <a:schemeClr val="tx1">
                  <a:alpha val="0"/>
                </a:schemeClr>
              </a:gs>
            </a:gsLst>
            <a:lin ang="0" scaled="1"/>
          </a:gradFill>
        </p:grpSpPr>
        <p:grpSp>
          <p:nvGrpSpPr>
            <p:cNvPr id="171" name="Group 170">
              <a:extLst>
                <a:ext uri="{FF2B5EF4-FFF2-40B4-BE49-F238E27FC236}">
                  <a16:creationId xmlns:a16="http://schemas.microsoft.com/office/drawing/2014/main" id="{75C9B18A-F26D-CDB3-EAD6-09A68A99F5AC}"/>
                </a:ext>
              </a:extLst>
            </p:cNvPr>
            <p:cNvGrpSpPr/>
            <p:nvPr/>
          </p:nvGrpSpPr>
          <p:grpSpPr>
            <a:xfrm rot="5400000">
              <a:off x="1055270" y="-538236"/>
              <a:ext cx="86591" cy="1729654"/>
              <a:chOff x="85292" y="59892"/>
              <a:chExt cx="86591" cy="1729654"/>
            </a:xfrm>
            <a:grpFill/>
          </p:grpSpPr>
          <p:sp>
            <p:nvSpPr>
              <p:cNvPr id="205" name="Oval 204">
                <a:extLst>
                  <a:ext uri="{FF2B5EF4-FFF2-40B4-BE49-F238E27FC236}">
                    <a16:creationId xmlns:a16="http://schemas.microsoft.com/office/drawing/2014/main" id="{ED15528D-5EC2-9F8F-2440-9DF18D720FB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ADD542B0-11EB-3B63-9D40-676F84A4EE4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AFC96008-AFFB-59C9-5EAA-90CFDEF49A3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id="{40006174-2749-76E4-AEFD-CBC625CA314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F5A570D2-9EF3-CBCD-53A3-15F81464836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DEFBB590-49C4-1879-5C1F-E60E906645E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9799114A-996F-0793-90CC-89FACC59A1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id="{22E3C437-E0B7-6D99-25AA-A2BAEB57F1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id="{9188ECF2-B532-A7A1-F1E4-A7CE584065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2C830DFB-030A-80C3-7B89-ED5935125C9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5231EA1D-F3D4-F33F-3CD0-954452CF4975}"/>
                </a:ext>
              </a:extLst>
            </p:cNvPr>
            <p:cNvGrpSpPr/>
            <p:nvPr/>
          </p:nvGrpSpPr>
          <p:grpSpPr>
            <a:xfrm rot="5400000">
              <a:off x="1055270" y="-284344"/>
              <a:ext cx="86591" cy="1729654"/>
              <a:chOff x="85292" y="59892"/>
              <a:chExt cx="86591" cy="1729654"/>
            </a:xfrm>
            <a:grpFill/>
          </p:grpSpPr>
          <p:sp>
            <p:nvSpPr>
              <p:cNvPr id="195" name="Oval 194">
                <a:extLst>
                  <a:ext uri="{FF2B5EF4-FFF2-40B4-BE49-F238E27FC236}">
                    <a16:creationId xmlns:a16="http://schemas.microsoft.com/office/drawing/2014/main" id="{0071FE3F-4FD5-3BEA-2393-9E8DBB9CA37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7FFBC77C-6CA1-DD87-4DBF-93C66AF9146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00F9170D-9B86-15DF-A184-FEB57047FA9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30EDEFF9-3D7C-D021-3487-3ED3211998C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C58E7440-2820-955A-E8B0-BC3CA36AD19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8094F2D9-9DAA-72DC-D3CE-B566305D589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A0F44DA8-A5BD-894B-D394-80DA576BFD6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489ACF72-AA02-8255-7BA4-73EC6ED3A20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53EAF2F1-6DB3-54C1-A6D0-907731134F7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45FA6A08-07AD-B611-72CD-C9E7780E077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E7A34F71-D804-D1A3-2CD3-F4835E1523FF}"/>
                </a:ext>
              </a:extLst>
            </p:cNvPr>
            <p:cNvGrpSpPr/>
            <p:nvPr/>
          </p:nvGrpSpPr>
          <p:grpSpPr>
            <a:xfrm rot="5400000">
              <a:off x="1055270" y="-30452"/>
              <a:ext cx="86591" cy="1729654"/>
              <a:chOff x="85292" y="59892"/>
              <a:chExt cx="86591" cy="1729654"/>
            </a:xfrm>
            <a:grpFill/>
          </p:grpSpPr>
          <p:sp>
            <p:nvSpPr>
              <p:cNvPr id="185" name="Oval 184">
                <a:extLst>
                  <a:ext uri="{FF2B5EF4-FFF2-40B4-BE49-F238E27FC236}">
                    <a16:creationId xmlns:a16="http://schemas.microsoft.com/office/drawing/2014/main" id="{78663919-0F90-B45A-2A0E-0886A24A67C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9A25E87A-9CE1-1978-298E-84B532A3F73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70A9910F-2946-1E74-35DB-F0E634F0279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A8A68F97-10A6-AB69-6609-C3BC4DD275F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084C75D9-BF31-5E58-656D-3AF59E19A3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253780E1-C66F-268E-F153-945E0B2E27F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F8000A45-9456-4989-AFB4-86ACF884E8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BD3F35B-4094-2E8A-1B62-0C77E8412C2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A6D29D74-F1E9-A9E9-5D5A-A351DC2907A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2D318C6C-FC9F-5EA2-2DEC-0257A21E09A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5D173ABE-9289-37D1-2D00-D9F126324CF5}"/>
                </a:ext>
              </a:extLst>
            </p:cNvPr>
            <p:cNvGrpSpPr/>
            <p:nvPr/>
          </p:nvGrpSpPr>
          <p:grpSpPr>
            <a:xfrm rot="5400000">
              <a:off x="1055270" y="223441"/>
              <a:ext cx="86591" cy="1729654"/>
              <a:chOff x="85292" y="59892"/>
              <a:chExt cx="86591" cy="1729654"/>
            </a:xfrm>
            <a:grpFill/>
          </p:grpSpPr>
          <p:sp>
            <p:nvSpPr>
              <p:cNvPr id="175" name="Oval 174">
                <a:extLst>
                  <a:ext uri="{FF2B5EF4-FFF2-40B4-BE49-F238E27FC236}">
                    <a16:creationId xmlns:a16="http://schemas.microsoft.com/office/drawing/2014/main" id="{F86A88B3-CDE8-2039-C97C-4AB171BD6E1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86ECEEA6-F9B9-FD83-1D16-BBEB3353D59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143A32E8-52F6-2853-A01A-74D7E5D39C9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CE48A885-E7A0-436D-AFA3-71DA0D5239F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B979F3A2-1A34-B5F4-007A-D2D5B0ABD39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960B543A-E6FA-E748-279A-D8F093D2A95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8FC13CDE-3586-B825-A0A2-681EFB37841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7A41C328-DA80-4C5C-51AC-4A2E9AA31B5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B9B59C51-C8D0-730A-A2DA-944D82F6E47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56691706-0781-9BE0-172E-34ACAA6DDF9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5" name="Group 214">
            <a:extLst>
              <a:ext uri="{FF2B5EF4-FFF2-40B4-BE49-F238E27FC236}">
                <a16:creationId xmlns:a16="http://schemas.microsoft.com/office/drawing/2014/main" id="{8BB96216-D073-A81D-9DDA-0EFC4779264B}"/>
              </a:ext>
            </a:extLst>
          </p:cNvPr>
          <p:cNvGrpSpPr/>
          <p:nvPr/>
        </p:nvGrpSpPr>
        <p:grpSpPr>
          <a:xfrm flipV="1">
            <a:off x="3614107" y="60205"/>
            <a:ext cx="1729654" cy="848268"/>
            <a:chOff x="233739" y="283295"/>
            <a:chExt cx="1729654" cy="848268"/>
          </a:xfrm>
          <a:gradFill>
            <a:gsLst>
              <a:gs pos="0">
                <a:schemeClr val="accent5"/>
              </a:gs>
              <a:gs pos="100000">
                <a:schemeClr val="tx1">
                  <a:alpha val="0"/>
                </a:schemeClr>
              </a:gs>
            </a:gsLst>
            <a:lin ang="0" scaled="1"/>
          </a:gradFill>
        </p:grpSpPr>
        <p:grpSp>
          <p:nvGrpSpPr>
            <p:cNvPr id="216" name="Group 215">
              <a:extLst>
                <a:ext uri="{FF2B5EF4-FFF2-40B4-BE49-F238E27FC236}">
                  <a16:creationId xmlns:a16="http://schemas.microsoft.com/office/drawing/2014/main" id="{51EC202F-2B4A-81CF-6FA1-D052BF30B25B}"/>
                </a:ext>
              </a:extLst>
            </p:cNvPr>
            <p:cNvGrpSpPr/>
            <p:nvPr/>
          </p:nvGrpSpPr>
          <p:grpSpPr>
            <a:xfrm rot="5400000">
              <a:off x="1055270" y="-538236"/>
              <a:ext cx="86591" cy="1729654"/>
              <a:chOff x="85292" y="59892"/>
              <a:chExt cx="86591" cy="1729654"/>
            </a:xfrm>
            <a:grpFill/>
          </p:grpSpPr>
          <p:sp>
            <p:nvSpPr>
              <p:cNvPr id="250" name="Oval 249">
                <a:extLst>
                  <a:ext uri="{FF2B5EF4-FFF2-40B4-BE49-F238E27FC236}">
                    <a16:creationId xmlns:a16="http://schemas.microsoft.com/office/drawing/2014/main" id="{869DE19D-D849-9059-BF77-46C8C52A204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B69FB3E3-A527-D504-4761-6C9727F04F2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F04A1AE8-5560-24BD-BE6E-FD0F938FD69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BD43520B-4F54-1E42-97FB-18A82FBF33F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7F75C644-1CAE-9087-651E-E301C76A41D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0DDD9E0E-7C5C-0BC0-4714-EC99BFDAB57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F95120F8-DD64-E6AE-D642-FC055E9C801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012CE138-28D1-88CA-836A-046F0B11A0E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D1DA919E-6063-9B72-23C8-A287AB13E88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CB158D86-4503-3445-9CD3-4FCCCDD8C3B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7" name="Group 216">
              <a:extLst>
                <a:ext uri="{FF2B5EF4-FFF2-40B4-BE49-F238E27FC236}">
                  <a16:creationId xmlns:a16="http://schemas.microsoft.com/office/drawing/2014/main" id="{6D25B587-9983-963D-7C91-7BE8E606F3DA}"/>
                </a:ext>
              </a:extLst>
            </p:cNvPr>
            <p:cNvGrpSpPr/>
            <p:nvPr/>
          </p:nvGrpSpPr>
          <p:grpSpPr>
            <a:xfrm rot="5400000">
              <a:off x="1055270" y="-284344"/>
              <a:ext cx="86591" cy="1729654"/>
              <a:chOff x="85292" y="59892"/>
              <a:chExt cx="86591" cy="1729654"/>
            </a:xfrm>
            <a:grpFill/>
          </p:grpSpPr>
          <p:sp>
            <p:nvSpPr>
              <p:cNvPr id="240" name="Oval 239">
                <a:extLst>
                  <a:ext uri="{FF2B5EF4-FFF2-40B4-BE49-F238E27FC236}">
                    <a16:creationId xmlns:a16="http://schemas.microsoft.com/office/drawing/2014/main" id="{3D2980DD-8C69-6BC4-9F2F-E391E3E8371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2CF02981-E397-00F8-0DC9-6976E43359A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id="{C79F8964-962D-F226-DAF8-9DBC682AFDD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id="{4A1EF361-6779-6B2E-3ECC-37F2F15C78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id="{7427E3C4-D441-5DEE-2A86-5FC88EE1AD3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id="{D22290E4-FC2A-D6A9-8303-5075B214372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BBCD6DBA-CD73-BB03-C5D0-66286D11008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5103AC7D-0603-D3E7-FFFB-7ACD4602B40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777374CF-A71D-FC6B-0798-D821D94D417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a:extLst>
                  <a:ext uri="{FF2B5EF4-FFF2-40B4-BE49-F238E27FC236}">
                    <a16:creationId xmlns:a16="http://schemas.microsoft.com/office/drawing/2014/main" id="{7E730A0E-264A-6D5D-92C7-8348A769187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Group 217">
              <a:extLst>
                <a:ext uri="{FF2B5EF4-FFF2-40B4-BE49-F238E27FC236}">
                  <a16:creationId xmlns:a16="http://schemas.microsoft.com/office/drawing/2014/main" id="{F7EBC14D-8998-7B95-4EE5-7917AD3FDE1D}"/>
                </a:ext>
              </a:extLst>
            </p:cNvPr>
            <p:cNvGrpSpPr/>
            <p:nvPr/>
          </p:nvGrpSpPr>
          <p:grpSpPr>
            <a:xfrm rot="5400000">
              <a:off x="1055270" y="-30452"/>
              <a:ext cx="86591" cy="1729654"/>
              <a:chOff x="85292" y="59892"/>
              <a:chExt cx="86591" cy="1729654"/>
            </a:xfrm>
            <a:grpFill/>
          </p:grpSpPr>
          <p:sp>
            <p:nvSpPr>
              <p:cNvPr id="230" name="Oval 229">
                <a:extLst>
                  <a:ext uri="{FF2B5EF4-FFF2-40B4-BE49-F238E27FC236}">
                    <a16:creationId xmlns:a16="http://schemas.microsoft.com/office/drawing/2014/main" id="{95A0EAB5-50D1-CF5D-9F47-385AD55174C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E757E799-7B24-AC1B-42A5-E4230CBD9B6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7989D039-36A5-0DE8-9BBE-92BAFF35EFC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B1AF291F-D9CF-D31B-E7F8-580F785CFDA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52A140DF-751C-9A74-A959-6448253F811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86E6AA96-5698-679E-522B-F7C3B4FB7E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39F0425-46CE-C1E5-5A9C-04322D7421C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294708E2-927C-B8E8-892E-D3A89267EC2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id="{AA26B6CB-EC66-CD0D-9146-5FF0817F4F1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id="{C7E1B1BD-B286-2B65-2C2F-B721704F37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9" name="Group 218">
              <a:extLst>
                <a:ext uri="{FF2B5EF4-FFF2-40B4-BE49-F238E27FC236}">
                  <a16:creationId xmlns:a16="http://schemas.microsoft.com/office/drawing/2014/main" id="{874BC2E1-C8ED-36D2-26DE-03880F0BA3F3}"/>
                </a:ext>
              </a:extLst>
            </p:cNvPr>
            <p:cNvGrpSpPr/>
            <p:nvPr/>
          </p:nvGrpSpPr>
          <p:grpSpPr>
            <a:xfrm rot="5400000">
              <a:off x="1055270" y="223441"/>
              <a:ext cx="86591" cy="1729654"/>
              <a:chOff x="85292" y="59892"/>
              <a:chExt cx="86591" cy="1729654"/>
            </a:xfrm>
            <a:grpFill/>
          </p:grpSpPr>
          <p:sp>
            <p:nvSpPr>
              <p:cNvPr id="220" name="Oval 219">
                <a:extLst>
                  <a:ext uri="{FF2B5EF4-FFF2-40B4-BE49-F238E27FC236}">
                    <a16:creationId xmlns:a16="http://schemas.microsoft.com/office/drawing/2014/main" id="{31F840EC-F8F0-BE72-85E3-ABD8CB96579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DF8D8A5D-4AC4-86C4-EC89-A3B39DEEBA4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4029FBE6-0C5B-B24D-8252-2B41AAE5812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DE894144-FBEC-1605-2BCC-61670A5B3FD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B0EF6F2F-C58C-9284-B5B3-986F0BDECC7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30F08410-2768-4AF7-5EA0-92281AB9CA1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602F3608-08F1-90C2-F121-76F0AC12C5D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8DFBEDC1-4FE8-D680-E90E-F74578A2F62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CD9181AA-1C46-11CB-347A-1B584C09AEE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7621C827-4A96-EF27-5898-1F999CD40FF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0" name="Group 259">
            <a:extLst>
              <a:ext uri="{FF2B5EF4-FFF2-40B4-BE49-F238E27FC236}">
                <a16:creationId xmlns:a16="http://schemas.microsoft.com/office/drawing/2014/main" id="{5F42BF2E-3407-19E9-E649-16A9DEE7759D}"/>
              </a:ext>
            </a:extLst>
          </p:cNvPr>
          <p:cNvGrpSpPr/>
          <p:nvPr/>
        </p:nvGrpSpPr>
        <p:grpSpPr>
          <a:xfrm rot="16200000" flipV="1">
            <a:off x="338280" y="5725318"/>
            <a:ext cx="1729654" cy="848268"/>
            <a:chOff x="233739" y="283295"/>
            <a:chExt cx="1729654" cy="848268"/>
          </a:xfrm>
          <a:gradFill>
            <a:gsLst>
              <a:gs pos="0">
                <a:schemeClr val="accent5"/>
              </a:gs>
              <a:gs pos="100000">
                <a:schemeClr val="tx1">
                  <a:alpha val="0"/>
                </a:schemeClr>
              </a:gs>
            </a:gsLst>
            <a:lin ang="0" scaled="1"/>
          </a:gradFill>
        </p:grpSpPr>
        <p:grpSp>
          <p:nvGrpSpPr>
            <p:cNvPr id="261" name="Group 260">
              <a:extLst>
                <a:ext uri="{FF2B5EF4-FFF2-40B4-BE49-F238E27FC236}">
                  <a16:creationId xmlns:a16="http://schemas.microsoft.com/office/drawing/2014/main" id="{49611DB2-26C7-4999-63BA-DEE85D3A5EAE}"/>
                </a:ext>
              </a:extLst>
            </p:cNvPr>
            <p:cNvGrpSpPr/>
            <p:nvPr/>
          </p:nvGrpSpPr>
          <p:grpSpPr>
            <a:xfrm rot="5400000">
              <a:off x="1055270" y="-538236"/>
              <a:ext cx="86591" cy="1729654"/>
              <a:chOff x="85292" y="59892"/>
              <a:chExt cx="86591" cy="1729654"/>
            </a:xfrm>
            <a:grpFill/>
          </p:grpSpPr>
          <p:sp>
            <p:nvSpPr>
              <p:cNvPr id="295" name="Oval 294">
                <a:extLst>
                  <a:ext uri="{FF2B5EF4-FFF2-40B4-BE49-F238E27FC236}">
                    <a16:creationId xmlns:a16="http://schemas.microsoft.com/office/drawing/2014/main" id="{7A141FA1-F828-3D85-61DB-42C9834FD21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Oval 295">
                <a:extLst>
                  <a:ext uri="{FF2B5EF4-FFF2-40B4-BE49-F238E27FC236}">
                    <a16:creationId xmlns:a16="http://schemas.microsoft.com/office/drawing/2014/main" id="{B678D357-2FBA-708C-B894-9D86EB3248E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Oval 296">
                <a:extLst>
                  <a:ext uri="{FF2B5EF4-FFF2-40B4-BE49-F238E27FC236}">
                    <a16:creationId xmlns:a16="http://schemas.microsoft.com/office/drawing/2014/main" id="{7D3D8395-1128-8BA9-ED2E-0CAFEC0D0A8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Oval 297">
                <a:extLst>
                  <a:ext uri="{FF2B5EF4-FFF2-40B4-BE49-F238E27FC236}">
                    <a16:creationId xmlns:a16="http://schemas.microsoft.com/office/drawing/2014/main" id="{71E02356-CF3D-A347-2D55-5F7DEEC8E15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Oval 298">
                <a:extLst>
                  <a:ext uri="{FF2B5EF4-FFF2-40B4-BE49-F238E27FC236}">
                    <a16:creationId xmlns:a16="http://schemas.microsoft.com/office/drawing/2014/main" id="{CFA72B36-A59F-E35D-67A9-17D7783845B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Oval 299">
                <a:extLst>
                  <a:ext uri="{FF2B5EF4-FFF2-40B4-BE49-F238E27FC236}">
                    <a16:creationId xmlns:a16="http://schemas.microsoft.com/office/drawing/2014/main" id="{D5CD5A42-1056-FCD7-DCF0-4FC6DA9F45B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Oval 300">
                <a:extLst>
                  <a:ext uri="{FF2B5EF4-FFF2-40B4-BE49-F238E27FC236}">
                    <a16:creationId xmlns:a16="http://schemas.microsoft.com/office/drawing/2014/main" id="{399F8A1A-4D10-830F-6E5B-D0226512A52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Oval 301">
                <a:extLst>
                  <a:ext uri="{FF2B5EF4-FFF2-40B4-BE49-F238E27FC236}">
                    <a16:creationId xmlns:a16="http://schemas.microsoft.com/office/drawing/2014/main" id="{9FEDC5D1-BBE4-68A4-6B9F-0D7DBDE5A52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Oval 302">
                <a:extLst>
                  <a:ext uri="{FF2B5EF4-FFF2-40B4-BE49-F238E27FC236}">
                    <a16:creationId xmlns:a16="http://schemas.microsoft.com/office/drawing/2014/main" id="{82050869-7B9B-D5CA-1E90-4BC6E793055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Oval 303">
                <a:extLst>
                  <a:ext uri="{FF2B5EF4-FFF2-40B4-BE49-F238E27FC236}">
                    <a16:creationId xmlns:a16="http://schemas.microsoft.com/office/drawing/2014/main" id="{B6B36F41-7F28-4B62-AE9A-3B767F11B5F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a:extLst>
                <a:ext uri="{FF2B5EF4-FFF2-40B4-BE49-F238E27FC236}">
                  <a16:creationId xmlns:a16="http://schemas.microsoft.com/office/drawing/2014/main" id="{E018ECB1-3BDD-C369-ED8D-C44F3245AAC4}"/>
                </a:ext>
              </a:extLst>
            </p:cNvPr>
            <p:cNvGrpSpPr/>
            <p:nvPr/>
          </p:nvGrpSpPr>
          <p:grpSpPr>
            <a:xfrm rot="5400000">
              <a:off x="1055270" y="-284344"/>
              <a:ext cx="86591" cy="1729654"/>
              <a:chOff x="85292" y="59892"/>
              <a:chExt cx="86591" cy="1729654"/>
            </a:xfrm>
            <a:grpFill/>
          </p:grpSpPr>
          <p:sp>
            <p:nvSpPr>
              <p:cNvPr id="285" name="Oval 284">
                <a:extLst>
                  <a:ext uri="{FF2B5EF4-FFF2-40B4-BE49-F238E27FC236}">
                    <a16:creationId xmlns:a16="http://schemas.microsoft.com/office/drawing/2014/main" id="{C439ACD3-D164-244B-D6A3-97731C826A2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a:extLst>
                  <a:ext uri="{FF2B5EF4-FFF2-40B4-BE49-F238E27FC236}">
                    <a16:creationId xmlns:a16="http://schemas.microsoft.com/office/drawing/2014/main" id="{D1F92BF3-6EA2-116F-AD6D-EB7BC7AC762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Oval 286">
                <a:extLst>
                  <a:ext uri="{FF2B5EF4-FFF2-40B4-BE49-F238E27FC236}">
                    <a16:creationId xmlns:a16="http://schemas.microsoft.com/office/drawing/2014/main" id="{855EB033-35AD-52AE-AD69-CB249EAABCF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a:extLst>
                  <a:ext uri="{FF2B5EF4-FFF2-40B4-BE49-F238E27FC236}">
                    <a16:creationId xmlns:a16="http://schemas.microsoft.com/office/drawing/2014/main" id="{5C78BF4C-B6A8-AD56-FC14-83A352027D4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Oval 288">
                <a:extLst>
                  <a:ext uri="{FF2B5EF4-FFF2-40B4-BE49-F238E27FC236}">
                    <a16:creationId xmlns:a16="http://schemas.microsoft.com/office/drawing/2014/main" id="{7812A110-2310-8BF1-8643-E6A98A86E4F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a:extLst>
                  <a:ext uri="{FF2B5EF4-FFF2-40B4-BE49-F238E27FC236}">
                    <a16:creationId xmlns:a16="http://schemas.microsoft.com/office/drawing/2014/main" id="{75F36E30-1E8C-DBA7-E440-F63800226B4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a:extLst>
                  <a:ext uri="{FF2B5EF4-FFF2-40B4-BE49-F238E27FC236}">
                    <a16:creationId xmlns:a16="http://schemas.microsoft.com/office/drawing/2014/main" id="{055E33BC-1894-B56D-B7F2-13FF612DD2D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a:extLst>
                  <a:ext uri="{FF2B5EF4-FFF2-40B4-BE49-F238E27FC236}">
                    <a16:creationId xmlns:a16="http://schemas.microsoft.com/office/drawing/2014/main" id="{AFE0BF5B-19AB-6B8B-2B46-EF4725EC27C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a:extLst>
                  <a:ext uri="{FF2B5EF4-FFF2-40B4-BE49-F238E27FC236}">
                    <a16:creationId xmlns:a16="http://schemas.microsoft.com/office/drawing/2014/main" id="{8A077508-3F65-0C58-9D06-5B54C4C1CE5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Oval 293">
                <a:extLst>
                  <a:ext uri="{FF2B5EF4-FFF2-40B4-BE49-F238E27FC236}">
                    <a16:creationId xmlns:a16="http://schemas.microsoft.com/office/drawing/2014/main" id="{14280963-CC89-BC48-F7C0-9D12C09F89B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a:extLst>
                <a:ext uri="{FF2B5EF4-FFF2-40B4-BE49-F238E27FC236}">
                  <a16:creationId xmlns:a16="http://schemas.microsoft.com/office/drawing/2014/main" id="{77A694F9-EB18-767A-CCD9-2B25DC85605D}"/>
                </a:ext>
              </a:extLst>
            </p:cNvPr>
            <p:cNvGrpSpPr/>
            <p:nvPr/>
          </p:nvGrpSpPr>
          <p:grpSpPr>
            <a:xfrm rot="5400000">
              <a:off x="1055270" y="-30452"/>
              <a:ext cx="86591" cy="1729654"/>
              <a:chOff x="85292" y="59892"/>
              <a:chExt cx="86591" cy="1729654"/>
            </a:xfrm>
            <a:grpFill/>
          </p:grpSpPr>
          <p:sp>
            <p:nvSpPr>
              <p:cNvPr id="275" name="Oval 274">
                <a:extLst>
                  <a:ext uri="{FF2B5EF4-FFF2-40B4-BE49-F238E27FC236}">
                    <a16:creationId xmlns:a16="http://schemas.microsoft.com/office/drawing/2014/main" id="{95110B96-FC0A-85B4-F0F4-58FBC4F2012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E189B08B-33EA-C3F8-3A68-7F51E8115D1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0701CA47-95A6-EDCC-C837-509460466F1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84ACE603-8674-706B-2D94-DE52D6266EF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5CD2336F-5F33-DD11-4A88-D80E5F427D5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C41B5C6B-D185-5E37-0894-8080E87C21C6}"/>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Oval 280">
                <a:extLst>
                  <a:ext uri="{FF2B5EF4-FFF2-40B4-BE49-F238E27FC236}">
                    <a16:creationId xmlns:a16="http://schemas.microsoft.com/office/drawing/2014/main" id="{220C7A95-FF93-773E-49CB-4C0826B3648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a:extLst>
                  <a:ext uri="{FF2B5EF4-FFF2-40B4-BE49-F238E27FC236}">
                    <a16:creationId xmlns:a16="http://schemas.microsoft.com/office/drawing/2014/main" id="{3D265CD9-CC61-F8E3-A213-F08C3CEDE1C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Oval 282">
                <a:extLst>
                  <a:ext uri="{FF2B5EF4-FFF2-40B4-BE49-F238E27FC236}">
                    <a16:creationId xmlns:a16="http://schemas.microsoft.com/office/drawing/2014/main" id="{396E305A-F0F6-D61C-C14D-AA7A9D43A64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a:extLst>
                  <a:ext uri="{FF2B5EF4-FFF2-40B4-BE49-F238E27FC236}">
                    <a16:creationId xmlns:a16="http://schemas.microsoft.com/office/drawing/2014/main" id="{CD3E9381-5BE8-30F7-6BA7-508C1BD9CC7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6566086F-5C60-00F9-75CF-25F75542AA30}"/>
                </a:ext>
              </a:extLst>
            </p:cNvPr>
            <p:cNvGrpSpPr/>
            <p:nvPr/>
          </p:nvGrpSpPr>
          <p:grpSpPr>
            <a:xfrm rot="5400000">
              <a:off x="1055270" y="223441"/>
              <a:ext cx="86591" cy="1729654"/>
              <a:chOff x="85292" y="59892"/>
              <a:chExt cx="86591" cy="1729654"/>
            </a:xfrm>
            <a:grpFill/>
          </p:grpSpPr>
          <p:sp>
            <p:nvSpPr>
              <p:cNvPr id="265" name="Oval 264">
                <a:extLst>
                  <a:ext uri="{FF2B5EF4-FFF2-40B4-BE49-F238E27FC236}">
                    <a16:creationId xmlns:a16="http://schemas.microsoft.com/office/drawing/2014/main" id="{6D1A9736-BA08-AE5D-94A7-ACB1D90797C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C6818BB4-40C8-0466-90FD-4C5DBCD1AC1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E0C28A46-D11A-9DCE-862C-60CC24793C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DC0030BF-4976-11C2-E6A8-DCD7F6BB078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a:extLst>
                  <a:ext uri="{FF2B5EF4-FFF2-40B4-BE49-F238E27FC236}">
                    <a16:creationId xmlns:a16="http://schemas.microsoft.com/office/drawing/2014/main" id="{A697DBD2-EFD7-472F-6794-D7C6847EEBF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6C4BE0CC-0176-68C8-E949-D7BDE9BBB30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D494FEF4-A688-FA9E-87E9-35FB91A32A2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Oval 271">
                <a:extLst>
                  <a:ext uri="{FF2B5EF4-FFF2-40B4-BE49-F238E27FC236}">
                    <a16:creationId xmlns:a16="http://schemas.microsoft.com/office/drawing/2014/main" id="{AB9EB5E7-A46A-404E-D6A8-5788686D30D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A888217F-DDE1-8C44-00AF-7BB1D72FA64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0A9A4172-7C2D-6780-20F9-6A8B5960B6E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50" name="Group 349">
            <a:extLst>
              <a:ext uri="{FF2B5EF4-FFF2-40B4-BE49-F238E27FC236}">
                <a16:creationId xmlns:a16="http://schemas.microsoft.com/office/drawing/2014/main" id="{701A0180-1493-9AC7-193A-EF1496ECF2C1}"/>
              </a:ext>
            </a:extLst>
          </p:cNvPr>
          <p:cNvGrpSpPr/>
          <p:nvPr/>
        </p:nvGrpSpPr>
        <p:grpSpPr>
          <a:xfrm flipV="1">
            <a:off x="10477425" y="3742657"/>
            <a:ext cx="1729654" cy="848268"/>
            <a:chOff x="233739" y="283295"/>
            <a:chExt cx="1729654" cy="848268"/>
          </a:xfrm>
          <a:gradFill>
            <a:gsLst>
              <a:gs pos="0">
                <a:schemeClr val="accent5"/>
              </a:gs>
              <a:gs pos="100000">
                <a:schemeClr val="tx1">
                  <a:alpha val="0"/>
                </a:schemeClr>
              </a:gs>
            </a:gsLst>
            <a:lin ang="0" scaled="1"/>
          </a:gradFill>
        </p:grpSpPr>
        <p:grpSp>
          <p:nvGrpSpPr>
            <p:cNvPr id="351" name="Group 350">
              <a:extLst>
                <a:ext uri="{FF2B5EF4-FFF2-40B4-BE49-F238E27FC236}">
                  <a16:creationId xmlns:a16="http://schemas.microsoft.com/office/drawing/2014/main" id="{725CBD0B-C92A-9B76-AC9C-B12224CD9923}"/>
                </a:ext>
              </a:extLst>
            </p:cNvPr>
            <p:cNvGrpSpPr/>
            <p:nvPr/>
          </p:nvGrpSpPr>
          <p:grpSpPr>
            <a:xfrm rot="5400000">
              <a:off x="1055270" y="-538236"/>
              <a:ext cx="86591" cy="1729654"/>
              <a:chOff x="85292" y="59892"/>
              <a:chExt cx="86591" cy="1729654"/>
            </a:xfrm>
            <a:grpFill/>
          </p:grpSpPr>
          <p:sp>
            <p:nvSpPr>
              <p:cNvPr id="385" name="Oval 384">
                <a:extLst>
                  <a:ext uri="{FF2B5EF4-FFF2-40B4-BE49-F238E27FC236}">
                    <a16:creationId xmlns:a16="http://schemas.microsoft.com/office/drawing/2014/main" id="{EF9CD22F-E15D-A408-95FA-5921A8584A3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BBE6BB16-5270-2C21-86FB-64A3E2218C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5B424408-2537-B3C9-8C84-A5DEBE4DCAD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DDD7A8DA-5D9B-AEDC-92AC-CB20512A649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2EB8DA11-37EC-258A-D7FC-7DCB4078E175}"/>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2695E85B-AE00-0627-E29F-80A2F8DB47D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F684090C-DE01-65CD-0DA4-0D884088969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0F7A5829-5A36-55A0-75AD-B5ED4CBBAED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F080CD02-ADB0-E24E-4627-B374BA70E0C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4744FC3B-1AAB-3C4F-563A-00EB8E74485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2" name="Group 351">
              <a:extLst>
                <a:ext uri="{FF2B5EF4-FFF2-40B4-BE49-F238E27FC236}">
                  <a16:creationId xmlns:a16="http://schemas.microsoft.com/office/drawing/2014/main" id="{2A071B86-6A84-890B-6509-EBB69D8918F1}"/>
                </a:ext>
              </a:extLst>
            </p:cNvPr>
            <p:cNvGrpSpPr/>
            <p:nvPr/>
          </p:nvGrpSpPr>
          <p:grpSpPr>
            <a:xfrm rot="5400000">
              <a:off x="1055270" y="-284344"/>
              <a:ext cx="86591" cy="1729654"/>
              <a:chOff x="85292" y="59892"/>
              <a:chExt cx="86591" cy="1729654"/>
            </a:xfrm>
            <a:grpFill/>
          </p:grpSpPr>
          <p:sp>
            <p:nvSpPr>
              <p:cNvPr id="375" name="Oval 374">
                <a:extLst>
                  <a:ext uri="{FF2B5EF4-FFF2-40B4-BE49-F238E27FC236}">
                    <a16:creationId xmlns:a16="http://schemas.microsoft.com/office/drawing/2014/main" id="{BDA247BC-2673-5A36-C560-27671B6D92A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839662EA-D3FD-4BD9-641A-BAAD9E5A1D3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Oval 376">
                <a:extLst>
                  <a:ext uri="{FF2B5EF4-FFF2-40B4-BE49-F238E27FC236}">
                    <a16:creationId xmlns:a16="http://schemas.microsoft.com/office/drawing/2014/main" id="{8596A228-8BCC-AD48-9D60-15E82DA3D7F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Oval 377">
                <a:extLst>
                  <a:ext uri="{FF2B5EF4-FFF2-40B4-BE49-F238E27FC236}">
                    <a16:creationId xmlns:a16="http://schemas.microsoft.com/office/drawing/2014/main" id="{2D653C6A-E403-6335-3A09-2710BC7B3F0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Oval 378">
                <a:extLst>
                  <a:ext uri="{FF2B5EF4-FFF2-40B4-BE49-F238E27FC236}">
                    <a16:creationId xmlns:a16="http://schemas.microsoft.com/office/drawing/2014/main" id="{367A6A4E-3C0E-34F7-2ADB-1CCF93DC49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Oval 379">
                <a:extLst>
                  <a:ext uri="{FF2B5EF4-FFF2-40B4-BE49-F238E27FC236}">
                    <a16:creationId xmlns:a16="http://schemas.microsoft.com/office/drawing/2014/main" id="{4D5D8B62-3CAB-21A3-E802-BCAA7EB489F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5752DE3B-DE27-B723-0681-8C4CF4485F7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2666FD6E-8361-7456-7D60-F59D33CA238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79D521D6-9584-3A4E-EFFE-10180055601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C19E4E01-70AA-3079-50EC-C2ABFC74816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oup 352">
              <a:extLst>
                <a:ext uri="{FF2B5EF4-FFF2-40B4-BE49-F238E27FC236}">
                  <a16:creationId xmlns:a16="http://schemas.microsoft.com/office/drawing/2014/main" id="{B08010F0-2671-FFEB-20B7-FB971DAA8EE2}"/>
                </a:ext>
              </a:extLst>
            </p:cNvPr>
            <p:cNvGrpSpPr/>
            <p:nvPr/>
          </p:nvGrpSpPr>
          <p:grpSpPr>
            <a:xfrm rot="5400000">
              <a:off x="1055270" y="-30452"/>
              <a:ext cx="86591" cy="1729654"/>
              <a:chOff x="85292" y="59892"/>
              <a:chExt cx="86591" cy="1729654"/>
            </a:xfrm>
            <a:grpFill/>
          </p:grpSpPr>
          <p:sp>
            <p:nvSpPr>
              <p:cNvPr id="365" name="Oval 364">
                <a:extLst>
                  <a:ext uri="{FF2B5EF4-FFF2-40B4-BE49-F238E27FC236}">
                    <a16:creationId xmlns:a16="http://schemas.microsoft.com/office/drawing/2014/main" id="{59B7FCDA-3037-649F-F501-29691C1C8D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2C1A1EE1-04E7-A2C8-CB07-E59018BD68C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3D24672D-5939-03E1-E2EB-51C599F3A4E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Oval 367">
                <a:extLst>
                  <a:ext uri="{FF2B5EF4-FFF2-40B4-BE49-F238E27FC236}">
                    <a16:creationId xmlns:a16="http://schemas.microsoft.com/office/drawing/2014/main" id="{2B306E2A-E254-BC36-20B5-68BCADF23CE9}"/>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A2AFC6BA-67CF-357F-A5CC-D39C8AA093F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2D4E2EB9-F93D-6093-5203-84B32A1F8D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Oval 370">
                <a:extLst>
                  <a:ext uri="{FF2B5EF4-FFF2-40B4-BE49-F238E27FC236}">
                    <a16:creationId xmlns:a16="http://schemas.microsoft.com/office/drawing/2014/main" id="{DB41FF39-8AC9-265B-8450-C5A7FF6E0FF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Oval 371">
                <a:extLst>
                  <a:ext uri="{FF2B5EF4-FFF2-40B4-BE49-F238E27FC236}">
                    <a16:creationId xmlns:a16="http://schemas.microsoft.com/office/drawing/2014/main" id="{8F9F52ED-34FC-3F0A-4FFE-CE93FB5F1A1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Oval 372">
                <a:extLst>
                  <a:ext uri="{FF2B5EF4-FFF2-40B4-BE49-F238E27FC236}">
                    <a16:creationId xmlns:a16="http://schemas.microsoft.com/office/drawing/2014/main" id="{FDAB73C8-0210-4691-8117-042781E8717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Oval 373">
                <a:extLst>
                  <a:ext uri="{FF2B5EF4-FFF2-40B4-BE49-F238E27FC236}">
                    <a16:creationId xmlns:a16="http://schemas.microsoft.com/office/drawing/2014/main" id="{0ED99E56-4B85-9008-5EC6-CC87DFFF651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4" name="Group 353">
              <a:extLst>
                <a:ext uri="{FF2B5EF4-FFF2-40B4-BE49-F238E27FC236}">
                  <a16:creationId xmlns:a16="http://schemas.microsoft.com/office/drawing/2014/main" id="{48E9E2CF-9B3A-DEA7-82BC-945190B943BD}"/>
                </a:ext>
              </a:extLst>
            </p:cNvPr>
            <p:cNvGrpSpPr/>
            <p:nvPr/>
          </p:nvGrpSpPr>
          <p:grpSpPr>
            <a:xfrm rot="5400000">
              <a:off x="1055270" y="223441"/>
              <a:ext cx="86591" cy="1729654"/>
              <a:chOff x="85292" y="59892"/>
              <a:chExt cx="86591" cy="1729654"/>
            </a:xfrm>
            <a:grpFill/>
          </p:grpSpPr>
          <p:sp>
            <p:nvSpPr>
              <p:cNvPr id="355" name="Oval 354">
                <a:extLst>
                  <a:ext uri="{FF2B5EF4-FFF2-40B4-BE49-F238E27FC236}">
                    <a16:creationId xmlns:a16="http://schemas.microsoft.com/office/drawing/2014/main" id="{702E2188-23C4-C2FB-435E-0AADFF35875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D09F1B27-AFED-1F17-2197-02E7223DCB6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7" name="Oval 356">
                <a:extLst>
                  <a:ext uri="{FF2B5EF4-FFF2-40B4-BE49-F238E27FC236}">
                    <a16:creationId xmlns:a16="http://schemas.microsoft.com/office/drawing/2014/main" id="{FCF26B55-C4C0-CCF2-2DF5-062F00917E2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D03B1B08-7BB2-EE9E-2F63-9C8FD4DA61F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4246D7D0-CC93-9F27-02E7-7B64B6A74E1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57886011-6BBA-4818-3C89-6EB6FBFD252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C3C230FB-638F-0507-2AEB-5F22A941D53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00A50C8D-F614-9F7C-BBF2-AA6CDCF2EA2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E03DED29-75B5-6D56-6B90-20968CC5AB7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Oval 363">
                <a:extLst>
                  <a:ext uri="{FF2B5EF4-FFF2-40B4-BE49-F238E27FC236}">
                    <a16:creationId xmlns:a16="http://schemas.microsoft.com/office/drawing/2014/main" id="{3A863454-783B-A7C9-ACDD-700BA3ECD8C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03" name="Straight Connector 402">
            <a:extLst>
              <a:ext uri="{FF2B5EF4-FFF2-40B4-BE49-F238E27FC236}">
                <a16:creationId xmlns:a16="http://schemas.microsoft.com/office/drawing/2014/main" id="{56F8AFD7-D36D-8980-5C65-27692028BE59}"/>
              </a:ext>
            </a:extLst>
          </p:cNvPr>
          <p:cNvCxnSpPr>
            <a:cxnSpLocks/>
          </p:cNvCxnSpPr>
          <p:nvPr/>
        </p:nvCxnSpPr>
        <p:spPr>
          <a:xfrm>
            <a:off x="10425430" y="757456"/>
            <a:ext cx="1765300" cy="0"/>
          </a:xfrm>
          <a:prstGeom prst="line">
            <a:avLst/>
          </a:prstGeom>
          <a:ln w="19050">
            <a:solidFill>
              <a:srgbClr val="168DA5"/>
            </a:solidFill>
          </a:ln>
        </p:spPr>
        <p:style>
          <a:lnRef idx="1">
            <a:schemeClr val="accent1"/>
          </a:lnRef>
          <a:fillRef idx="0">
            <a:schemeClr val="accent1"/>
          </a:fillRef>
          <a:effectRef idx="0">
            <a:schemeClr val="accent1"/>
          </a:effectRef>
          <a:fontRef idx="minor">
            <a:schemeClr val="tx1"/>
          </a:fontRef>
        </p:style>
      </p:cxnSp>
      <p:sp>
        <p:nvSpPr>
          <p:cNvPr id="404" name="Oval 403">
            <a:hlinkClick r:id="rId7" action="ppaction://hlinksldjump"/>
            <a:extLst>
              <a:ext uri="{FF2B5EF4-FFF2-40B4-BE49-F238E27FC236}">
                <a16:creationId xmlns:a16="http://schemas.microsoft.com/office/drawing/2014/main" id="{D7FCF938-7895-B5FA-8AED-9E731A43F515}"/>
              </a:ext>
            </a:extLst>
          </p:cNvPr>
          <p:cNvSpPr/>
          <p:nvPr/>
        </p:nvSpPr>
        <p:spPr>
          <a:xfrm flipH="1">
            <a:off x="9426591" y="222167"/>
            <a:ext cx="1070578" cy="1070578"/>
          </a:xfrm>
          <a:prstGeom prst="ellipse">
            <a:avLst/>
          </a:prstGeom>
          <a:solidFill>
            <a:srgbClr val="168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6AA354B6-EDA0-4B37-3C64-1E97BA572109}"/>
              </a:ext>
            </a:extLst>
          </p:cNvPr>
          <p:cNvSpPr/>
          <p:nvPr/>
        </p:nvSpPr>
        <p:spPr>
          <a:xfrm flipH="1">
            <a:off x="10136291" y="468318"/>
            <a:ext cx="578277" cy="5782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50">
            <a:extLst>
              <a:ext uri="{FF2B5EF4-FFF2-40B4-BE49-F238E27FC236}">
                <a16:creationId xmlns:a16="http://schemas.microsoft.com/office/drawing/2014/main" id="{D9FD6321-0097-AFF0-ACF1-1D5704DE9559}"/>
              </a:ext>
            </a:extLst>
          </p:cNvPr>
          <p:cNvGrpSpPr/>
          <p:nvPr/>
        </p:nvGrpSpPr>
        <p:grpSpPr>
          <a:xfrm rot="5400000" flipV="1">
            <a:off x="10815499" y="510301"/>
            <a:ext cx="1729654" cy="848268"/>
            <a:chOff x="233739" y="283295"/>
            <a:chExt cx="1729654" cy="848268"/>
          </a:xfrm>
          <a:gradFill>
            <a:gsLst>
              <a:gs pos="0">
                <a:schemeClr val="accent5"/>
              </a:gs>
              <a:gs pos="100000">
                <a:schemeClr val="tx1">
                  <a:alpha val="0"/>
                </a:schemeClr>
              </a:gs>
            </a:gsLst>
            <a:lin ang="0" scaled="1"/>
          </a:gradFill>
        </p:grpSpPr>
        <p:grpSp>
          <p:nvGrpSpPr>
            <p:cNvPr id="452" name="Group 451">
              <a:extLst>
                <a:ext uri="{FF2B5EF4-FFF2-40B4-BE49-F238E27FC236}">
                  <a16:creationId xmlns:a16="http://schemas.microsoft.com/office/drawing/2014/main" id="{571A1E07-235D-26D2-D140-300A13522617}"/>
                </a:ext>
              </a:extLst>
            </p:cNvPr>
            <p:cNvGrpSpPr/>
            <p:nvPr/>
          </p:nvGrpSpPr>
          <p:grpSpPr>
            <a:xfrm rot="5400000">
              <a:off x="1055270" y="-538236"/>
              <a:ext cx="86591" cy="1729654"/>
              <a:chOff x="85292" y="59892"/>
              <a:chExt cx="86591" cy="1729654"/>
            </a:xfrm>
            <a:grpFill/>
          </p:grpSpPr>
          <p:sp>
            <p:nvSpPr>
              <p:cNvPr id="486" name="Oval 485">
                <a:extLst>
                  <a:ext uri="{FF2B5EF4-FFF2-40B4-BE49-F238E27FC236}">
                    <a16:creationId xmlns:a16="http://schemas.microsoft.com/office/drawing/2014/main" id="{05E117F2-745C-3F9A-596C-95CA4AF848E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28B18682-6FEF-54B1-1B25-6E9DB6D11CB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8" name="Oval 487">
                <a:extLst>
                  <a:ext uri="{FF2B5EF4-FFF2-40B4-BE49-F238E27FC236}">
                    <a16:creationId xmlns:a16="http://schemas.microsoft.com/office/drawing/2014/main" id="{564FC2EE-032F-7485-AA1A-5F6C0E98FAD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Oval 488">
                <a:extLst>
                  <a:ext uri="{FF2B5EF4-FFF2-40B4-BE49-F238E27FC236}">
                    <a16:creationId xmlns:a16="http://schemas.microsoft.com/office/drawing/2014/main" id="{905E8939-93F7-8F53-50D5-6FDF5C68A78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DE41A00E-464B-4517-B2F3-E6CF0E24C6E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BB5C7040-E26A-B6D6-593A-CAF3E7A276B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2" name="Oval 491">
                <a:extLst>
                  <a:ext uri="{FF2B5EF4-FFF2-40B4-BE49-F238E27FC236}">
                    <a16:creationId xmlns:a16="http://schemas.microsoft.com/office/drawing/2014/main" id="{26D76F71-5937-16B1-84AF-37F2EF9323C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Oval 492">
                <a:extLst>
                  <a:ext uri="{FF2B5EF4-FFF2-40B4-BE49-F238E27FC236}">
                    <a16:creationId xmlns:a16="http://schemas.microsoft.com/office/drawing/2014/main" id="{741194B7-4F43-3413-5E13-C3C6BB38856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A47B6533-ADD4-5874-97AE-46CA903589F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53B73EB5-E9D1-3881-9C06-BC7C210F2E3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3" name="Group 452">
              <a:extLst>
                <a:ext uri="{FF2B5EF4-FFF2-40B4-BE49-F238E27FC236}">
                  <a16:creationId xmlns:a16="http://schemas.microsoft.com/office/drawing/2014/main" id="{FB9E4F07-C2C1-9A3C-1948-31301E2D4762}"/>
                </a:ext>
              </a:extLst>
            </p:cNvPr>
            <p:cNvGrpSpPr/>
            <p:nvPr/>
          </p:nvGrpSpPr>
          <p:grpSpPr>
            <a:xfrm rot="5400000">
              <a:off x="1055270" y="-284344"/>
              <a:ext cx="86591" cy="1729654"/>
              <a:chOff x="85292" y="59892"/>
              <a:chExt cx="86591" cy="1729654"/>
            </a:xfrm>
            <a:grpFill/>
          </p:grpSpPr>
          <p:sp>
            <p:nvSpPr>
              <p:cNvPr id="476" name="Oval 475">
                <a:extLst>
                  <a:ext uri="{FF2B5EF4-FFF2-40B4-BE49-F238E27FC236}">
                    <a16:creationId xmlns:a16="http://schemas.microsoft.com/office/drawing/2014/main" id="{F25D3CBC-E388-BCB0-E91B-F68F2E7C5C4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Oval 476">
                <a:extLst>
                  <a:ext uri="{FF2B5EF4-FFF2-40B4-BE49-F238E27FC236}">
                    <a16:creationId xmlns:a16="http://schemas.microsoft.com/office/drawing/2014/main" id="{6729871B-CC98-AF92-D12D-0FAB85D79A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A454F525-E01A-EF3A-6E82-9D1B4100041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2407D72B-87BB-3361-220C-FB7B3210BFC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Oval 479">
                <a:extLst>
                  <a:ext uri="{FF2B5EF4-FFF2-40B4-BE49-F238E27FC236}">
                    <a16:creationId xmlns:a16="http://schemas.microsoft.com/office/drawing/2014/main" id="{26489ABB-F109-B418-C247-D7ADA4C1BF9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Oval 480">
                <a:extLst>
                  <a:ext uri="{FF2B5EF4-FFF2-40B4-BE49-F238E27FC236}">
                    <a16:creationId xmlns:a16="http://schemas.microsoft.com/office/drawing/2014/main" id="{4C8B9A8A-F881-F7E0-7C3B-990D70ED344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D3B62087-6575-2D6F-5088-AA96CA68CD1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329FA98F-3A53-5CFC-6C98-7978ACDD3F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Oval 483">
                <a:extLst>
                  <a:ext uri="{FF2B5EF4-FFF2-40B4-BE49-F238E27FC236}">
                    <a16:creationId xmlns:a16="http://schemas.microsoft.com/office/drawing/2014/main" id="{5BF75C73-3B85-7560-9F51-BF461E226DD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Oval 484">
                <a:extLst>
                  <a:ext uri="{FF2B5EF4-FFF2-40B4-BE49-F238E27FC236}">
                    <a16:creationId xmlns:a16="http://schemas.microsoft.com/office/drawing/2014/main" id="{CF340049-C47A-D5F2-6C14-39E4B69BB53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4" name="Group 453">
              <a:extLst>
                <a:ext uri="{FF2B5EF4-FFF2-40B4-BE49-F238E27FC236}">
                  <a16:creationId xmlns:a16="http://schemas.microsoft.com/office/drawing/2014/main" id="{AFD31786-4E40-8A9F-A6CE-AE98B05D3AF8}"/>
                </a:ext>
              </a:extLst>
            </p:cNvPr>
            <p:cNvGrpSpPr/>
            <p:nvPr/>
          </p:nvGrpSpPr>
          <p:grpSpPr>
            <a:xfrm rot="5400000">
              <a:off x="1055270" y="-30452"/>
              <a:ext cx="86591" cy="1729654"/>
              <a:chOff x="85292" y="59892"/>
              <a:chExt cx="86591" cy="1729654"/>
            </a:xfrm>
            <a:grpFill/>
          </p:grpSpPr>
          <p:sp>
            <p:nvSpPr>
              <p:cNvPr id="466" name="Oval 465">
                <a:extLst>
                  <a:ext uri="{FF2B5EF4-FFF2-40B4-BE49-F238E27FC236}">
                    <a16:creationId xmlns:a16="http://schemas.microsoft.com/office/drawing/2014/main" id="{C90E6946-6029-CE71-DFF3-4F2B9D54A0A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34B2AA63-FBD9-580E-D30F-DC2AF8A3246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Oval 467">
                <a:extLst>
                  <a:ext uri="{FF2B5EF4-FFF2-40B4-BE49-F238E27FC236}">
                    <a16:creationId xmlns:a16="http://schemas.microsoft.com/office/drawing/2014/main" id="{798281FD-062D-0CC6-86A1-93646B80042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Oval 468">
                <a:extLst>
                  <a:ext uri="{FF2B5EF4-FFF2-40B4-BE49-F238E27FC236}">
                    <a16:creationId xmlns:a16="http://schemas.microsoft.com/office/drawing/2014/main" id="{597359AA-84EA-9436-44C6-CE04689EB15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1A794D6E-424A-B8C5-3836-CDB3F4BE08C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A8619043-4EE1-7A60-82C8-C27589AF8AB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2" name="Oval 471">
                <a:extLst>
                  <a:ext uri="{FF2B5EF4-FFF2-40B4-BE49-F238E27FC236}">
                    <a16:creationId xmlns:a16="http://schemas.microsoft.com/office/drawing/2014/main" id="{B735EC24-56CC-7508-AB4F-DD1F9D3D32B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Oval 472">
                <a:extLst>
                  <a:ext uri="{FF2B5EF4-FFF2-40B4-BE49-F238E27FC236}">
                    <a16:creationId xmlns:a16="http://schemas.microsoft.com/office/drawing/2014/main" id="{DCF87E98-1C96-FBCA-5353-4E615350337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17E9D262-D714-A637-9583-01C570C9C71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A7AFBF1E-EA00-A1C5-7976-C00781B5643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5" name="Group 454">
              <a:extLst>
                <a:ext uri="{FF2B5EF4-FFF2-40B4-BE49-F238E27FC236}">
                  <a16:creationId xmlns:a16="http://schemas.microsoft.com/office/drawing/2014/main" id="{0A5FA523-59FD-4ED7-94F6-A9352889E988}"/>
                </a:ext>
              </a:extLst>
            </p:cNvPr>
            <p:cNvGrpSpPr/>
            <p:nvPr/>
          </p:nvGrpSpPr>
          <p:grpSpPr>
            <a:xfrm rot="5400000">
              <a:off x="1055270" y="223441"/>
              <a:ext cx="86591" cy="1729654"/>
              <a:chOff x="85292" y="59892"/>
              <a:chExt cx="86591" cy="1729654"/>
            </a:xfrm>
            <a:grpFill/>
          </p:grpSpPr>
          <p:sp>
            <p:nvSpPr>
              <p:cNvPr id="456" name="Oval 455">
                <a:extLst>
                  <a:ext uri="{FF2B5EF4-FFF2-40B4-BE49-F238E27FC236}">
                    <a16:creationId xmlns:a16="http://schemas.microsoft.com/office/drawing/2014/main" id="{445D5762-3938-D290-929F-5AFA6699625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Oval 456">
                <a:extLst>
                  <a:ext uri="{FF2B5EF4-FFF2-40B4-BE49-F238E27FC236}">
                    <a16:creationId xmlns:a16="http://schemas.microsoft.com/office/drawing/2014/main" id="{796F9DE9-085F-2407-EC2F-7A60F368717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67FD21C9-2548-E897-0609-4B0A247CEFF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872123A9-3F23-91BD-EB06-6990047C1D5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Oval 459">
                <a:extLst>
                  <a:ext uri="{FF2B5EF4-FFF2-40B4-BE49-F238E27FC236}">
                    <a16:creationId xmlns:a16="http://schemas.microsoft.com/office/drawing/2014/main" id="{8C03E17A-217E-6B90-9956-1A4D931B49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Oval 460">
                <a:extLst>
                  <a:ext uri="{FF2B5EF4-FFF2-40B4-BE49-F238E27FC236}">
                    <a16:creationId xmlns:a16="http://schemas.microsoft.com/office/drawing/2014/main" id="{0285945B-F096-D8AB-B750-14623253F45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C76A3D6C-1E04-ABC9-B6B2-BCBAA6700D3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08EAA086-8839-A7AE-03AE-0A1031A77A2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Oval 463">
                <a:extLst>
                  <a:ext uri="{FF2B5EF4-FFF2-40B4-BE49-F238E27FC236}">
                    <a16:creationId xmlns:a16="http://schemas.microsoft.com/office/drawing/2014/main" id="{C8E00B42-B028-0082-D2C7-9D870590AD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Oval 464">
                <a:extLst>
                  <a:ext uri="{FF2B5EF4-FFF2-40B4-BE49-F238E27FC236}">
                    <a16:creationId xmlns:a16="http://schemas.microsoft.com/office/drawing/2014/main" id="{A5F6DE84-ABDF-2782-3760-EE005D47DF3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40639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500ps.UB5gx63fzRFd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9SOX6z6TmiJrtpEZPUn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8Ke_bBdwbDcySV3NO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QoGnvVz38fyDwzX9uom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cOC6JjGHxclOcC9mpfu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H_96fGnV7maXJXeezgN0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clMmChe9DXzjBbC6Ns.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BBOC9BprqMdNtcYEXKF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IFArVL.DeOOXVc5P4RA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K5ABAoYQ7P94TI78Qohw"/>
</p:tagLst>
</file>

<file path=ppt/theme/theme1.xml><?xml version="1.0" encoding="utf-8"?>
<a:theme xmlns:a="http://schemas.openxmlformats.org/drawingml/2006/main" name="Office Theme">
  <a:themeElements>
    <a:clrScheme name="Custom 33">
      <a:dk1>
        <a:srgbClr val="000000"/>
      </a:dk1>
      <a:lt1>
        <a:srgbClr val="FFFFFF"/>
      </a:lt1>
      <a:dk2>
        <a:srgbClr val="44546A"/>
      </a:dk2>
      <a:lt2>
        <a:srgbClr val="E7E6E6"/>
      </a:lt2>
      <a:accent1>
        <a:srgbClr val="0C0D0C"/>
      </a:accent1>
      <a:accent2>
        <a:srgbClr val="252625"/>
      </a:accent2>
      <a:accent3>
        <a:srgbClr val="3F403F"/>
      </a:accent3>
      <a:accent4>
        <a:srgbClr val="727372"/>
      </a:accent4>
      <a:accent5>
        <a:srgbClr val="D8D9D8"/>
      </a:accent5>
      <a:accent6>
        <a:srgbClr val="A38A60"/>
      </a:accent6>
      <a:hlink>
        <a:srgbClr val="0563C1"/>
      </a:hlink>
      <a:folHlink>
        <a:srgbClr val="954F72"/>
      </a:folHlink>
    </a:clrScheme>
    <a:fontScheme name="Custom 20">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esentationGO">
  <a:themeElements>
    <a:clrScheme name="abstract">
      <a:dk1>
        <a:srgbClr val="000000"/>
      </a:dk1>
      <a:lt1>
        <a:srgbClr val="FFFFFF"/>
      </a:lt1>
      <a:dk2>
        <a:srgbClr val="44546A"/>
      </a:dk2>
      <a:lt2>
        <a:srgbClr val="E7E6E6"/>
      </a:lt2>
      <a:accent1>
        <a:srgbClr val="134A61"/>
      </a:accent1>
      <a:accent2>
        <a:srgbClr val="DFDDC4"/>
      </a:accent2>
      <a:accent3>
        <a:srgbClr val="EDE6D5"/>
      </a:accent3>
      <a:accent4>
        <a:srgbClr val="144159"/>
      </a:accent4>
      <a:accent5>
        <a:srgbClr val="6E8387"/>
      </a:accent5>
      <a:accent6>
        <a:srgbClr val="F5F3ED"/>
      </a:accent6>
      <a:hlink>
        <a:srgbClr val="C4B897"/>
      </a:hlink>
      <a:folHlink>
        <a:srgbClr val="002E4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239_T_PGO_Abstract-Rounded-4x3.pptx" id="{DCCA6F97-3696-4A04-9184-06EF0CE07454}" vid="{64F35917-7B32-4D38-AA44-440AABFAF366}"/>
    </a:ext>
  </a:extLst>
</a:theme>
</file>

<file path=ppt/theme/theme3.xml><?xml version="1.0" encoding="utf-8"?>
<a:theme xmlns:a="http://schemas.openxmlformats.org/drawingml/2006/main" name="1_PresentationGO">
  <a:themeElements>
    <a:clrScheme name="PGO - Energy">
      <a:dk1>
        <a:srgbClr val="000000"/>
      </a:dk1>
      <a:lt1>
        <a:srgbClr val="FFFFFF"/>
      </a:lt1>
      <a:dk2>
        <a:srgbClr val="5B5C5F"/>
      </a:dk2>
      <a:lt2>
        <a:srgbClr val="E7E6E6"/>
      </a:lt2>
      <a:accent1>
        <a:srgbClr val="5B5C5F"/>
      </a:accent1>
      <a:accent2>
        <a:srgbClr val="9C2064"/>
      </a:accent2>
      <a:accent3>
        <a:srgbClr val="31A955"/>
      </a:accent3>
      <a:accent4>
        <a:srgbClr val="3299DC"/>
      </a:accent4>
      <a:accent5>
        <a:srgbClr val="F59202"/>
      </a:accent5>
      <a:accent6>
        <a:srgbClr val="EF4C4D"/>
      </a:accent6>
      <a:hlink>
        <a:srgbClr val="F29B13"/>
      </a:hlink>
      <a:folHlink>
        <a:srgbClr val="CBCBC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210_T_PGO_Energy-4x3.pptx" id="{14833674-E2C8-46A2-8BED-4FD210050E70}" vid="{70FDB6E2-DFF2-4128-866E-178290216DF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60</TotalTime>
  <Words>1541</Words>
  <Application>Microsoft Office PowerPoint</Application>
  <PresentationFormat>Widescreen</PresentationFormat>
  <Paragraphs>261</Paragraphs>
  <Slides>41</Slides>
  <Notes>40</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60" baseType="lpstr">
      <vt:lpstr>Arial</vt:lpstr>
      <vt:lpstr>Arial Black</vt:lpstr>
      <vt:lpstr>Arial Rounded MT Bold</vt:lpstr>
      <vt:lpstr>Bahnschrift SemiBold Condensed</vt:lpstr>
      <vt:lpstr>Berlin Sans FB Demi</vt:lpstr>
      <vt:lpstr>Britannic Bold</vt:lpstr>
      <vt:lpstr>Calibri</vt:lpstr>
      <vt:lpstr>Calibri Light</vt:lpstr>
      <vt:lpstr>Forte</vt:lpstr>
      <vt:lpstr>Open Sans</vt:lpstr>
      <vt:lpstr>Script MT Bold</vt:lpstr>
      <vt:lpstr>Segoe UI</vt:lpstr>
      <vt:lpstr>Segoe UI Light</vt:lpstr>
      <vt:lpstr>Söhne</vt:lpstr>
      <vt:lpstr>Wingdings</vt:lpstr>
      <vt:lpstr>Office Theme</vt:lpstr>
      <vt:lpstr>PresentationGO</vt:lpstr>
      <vt:lpstr>1_PresentationGO</vt:lpstr>
      <vt:lpstr>think-cell Slide</vt:lpstr>
      <vt:lpstr>PowerPoint Presentation</vt:lpstr>
      <vt:lpstr>Baum Welch Algorithm Hidden Markov Mode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2</dc:creator>
  <cp:lastModifiedBy>اسراء سيد أحمد عبد المحسن عبد العواض</cp:lastModifiedBy>
  <cp:revision>76</cp:revision>
  <dcterms:created xsi:type="dcterms:W3CDTF">2020-12-30T02:56:23Z</dcterms:created>
  <dcterms:modified xsi:type="dcterms:W3CDTF">2024-01-20T14:23:32Z</dcterms:modified>
</cp:coreProperties>
</file>